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xml" ContentType="application/vnd.openxmlformats-officedocument.presentationml.tags+xml"/>
  <Override PartName="/ppt/tags/tag4.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sldIdLst>
    <p:sldId id="20986" r:id="rId5"/>
    <p:sldId id="20980" r:id="rId6"/>
    <p:sldId id="20983" r:id="rId7"/>
    <p:sldId id="20982" r:id="rId8"/>
    <p:sldId id="20984" r:id="rId9"/>
    <p:sldId id="20985" r:id="rId10"/>
    <p:sldId id="20987" r:id="rId11"/>
  </p:sldIdLst>
  <p:sldSz cx="12192000" cy="6858000"/>
  <p:notesSz cx="6858000" cy="9144000"/>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EEB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3F95AF6-9902-43E2-A632-BE0953E7FC14}" v="190" dt="2021-11-18T20:20:20.398"/>
    <p1510:client id="{77B9291B-2139-4240-8AAC-9278E7946259}" v="5224" dt="2021-11-18T14:35:01.488"/>
    <p1510:client id="{BAFC44C9-FD18-4092-AE46-F45CCFD07E05}" vWet="2" dt="2021-11-18T14:03:08.126"/>
    <p1510:client id="{C2E96CE9-F20B-4C24-B6C0-271974817FC3}" v="90" dt="2021-11-18T14:48:19.431"/>
    <p1510:client id="{D8ECAC80-CEEB-44B6-AA50-4AF2021DC507}" v="125" dt="2021-11-18T15:09:37.15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75" autoAdjust="0"/>
    <p:restoredTop sz="94660"/>
  </p:normalViewPr>
  <p:slideViewPr>
    <p:cSldViewPr snapToGrid="0">
      <p:cViewPr>
        <p:scale>
          <a:sx n="70" d="100"/>
          <a:sy n="70" d="100"/>
        </p:scale>
        <p:origin x="460" y="-6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ags" Target="tags/tag1.xml"/><Relationship Id="rId17"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nghan Hu" userId="3a421cb0-03f0-4748-9507-52fdf07c66bc" providerId="ADAL" clId="{63F95AF6-9902-43E2-A632-BE0953E7FC14}"/>
    <pc:docChg chg="undo custSel addSld modSld sldOrd">
      <pc:chgData name="Ninghan Hu" userId="3a421cb0-03f0-4748-9507-52fdf07c66bc" providerId="ADAL" clId="{63F95AF6-9902-43E2-A632-BE0953E7FC14}" dt="2021-11-18T20:20:30.093" v="322" actId="1076"/>
      <pc:docMkLst>
        <pc:docMk/>
      </pc:docMkLst>
      <pc:sldChg chg="modSp mod">
        <pc:chgData name="Ninghan Hu" userId="3a421cb0-03f0-4748-9507-52fdf07c66bc" providerId="ADAL" clId="{63F95AF6-9902-43E2-A632-BE0953E7FC14}" dt="2021-11-18T15:11:38.710" v="104" actId="1076"/>
        <pc:sldMkLst>
          <pc:docMk/>
          <pc:sldMk cId="1397099516" sldId="20983"/>
        </pc:sldMkLst>
        <pc:spChg chg="mod">
          <ac:chgData name="Ninghan Hu" userId="3a421cb0-03f0-4748-9507-52fdf07c66bc" providerId="ADAL" clId="{63F95AF6-9902-43E2-A632-BE0953E7FC14}" dt="2021-11-18T15:11:38.710" v="104" actId="1076"/>
          <ac:spMkLst>
            <pc:docMk/>
            <pc:sldMk cId="1397099516" sldId="20983"/>
            <ac:spMk id="5" creationId="{E57AFE32-F53C-4199-9BEC-07DAA225DC64}"/>
          </ac:spMkLst>
        </pc:spChg>
        <pc:graphicFrameChg chg="mod">
          <ac:chgData name="Ninghan Hu" userId="3a421cb0-03f0-4748-9507-52fdf07c66bc" providerId="ADAL" clId="{63F95AF6-9902-43E2-A632-BE0953E7FC14}" dt="2021-11-18T15:11:38.710" v="104" actId="1076"/>
          <ac:graphicFrameMkLst>
            <pc:docMk/>
            <pc:sldMk cId="1397099516" sldId="20983"/>
            <ac:graphicFrameMk id="6" creationId="{BBA015C5-A577-4930-8296-2D1D0CDE5A32}"/>
          </ac:graphicFrameMkLst>
        </pc:graphicFrameChg>
      </pc:sldChg>
      <pc:sldChg chg="delSp mod">
        <pc:chgData name="Ninghan Hu" userId="3a421cb0-03f0-4748-9507-52fdf07c66bc" providerId="ADAL" clId="{63F95AF6-9902-43E2-A632-BE0953E7FC14}" dt="2021-11-18T19:58:19.005" v="105" actId="478"/>
        <pc:sldMkLst>
          <pc:docMk/>
          <pc:sldMk cId="1072258767" sldId="20985"/>
        </pc:sldMkLst>
        <pc:spChg chg="del">
          <ac:chgData name="Ninghan Hu" userId="3a421cb0-03f0-4748-9507-52fdf07c66bc" providerId="ADAL" clId="{63F95AF6-9902-43E2-A632-BE0953E7FC14}" dt="2021-11-18T19:58:19.005" v="105" actId="478"/>
          <ac:spMkLst>
            <pc:docMk/>
            <pc:sldMk cId="1072258767" sldId="20985"/>
            <ac:spMk id="4" creationId="{3BA8AFA5-B179-4757-AFE4-04E94B308E8B}"/>
          </ac:spMkLst>
        </pc:spChg>
      </pc:sldChg>
      <pc:sldChg chg="modSp new mod ord">
        <pc:chgData name="Ninghan Hu" userId="3a421cb0-03f0-4748-9507-52fdf07c66bc" providerId="ADAL" clId="{63F95AF6-9902-43E2-A632-BE0953E7FC14}" dt="2021-11-18T20:13:39.777" v="264" actId="20577"/>
        <pc:sldMkLst>
          <pc:docMk/>
          <pc:sldMk cId="3345305709" sldId="20986"/>
        </pc:sldMkLst>
        <pc:spChg chg="mod">
          <ac:chgData name="Ninghan Hu" userId="3a421cb0-03f0-4748-9507-52fdf07c66bc" providerId="ADAL" clId="{63F95AF6-9902-43E2-A632-BE0953E7FC14}" dt="2021-11-18T15:03:11.086" v="25" actId="20577"/>
          <ac:spMkLst>
            <pc:docMk/>
            <pc:sldMk cId="3345305709" sldId="20986"/>
            <ac:spMk id="2" creationId="{95E46AA8-F2E8-4ECB-B3DD-8B092EADD57F}"/>
          </ac:spMkLst>
        </pc:spChg>
        <pc:spChg chg="mod">
          <ac:chgData name="Ninghan Hu" userId="3a421cb0-03f0-4748-9507-52fdf07c66bc" providerId="ADAL" clId="{63F95AF6-9902-43E2-A632-BE0953E7FC14}" dt="2021-11-18T20:13:39.777" v="264" actId="20577"/>
          <ac:spMkLst>
            <pc:docMk/>
            <pc:sldMk cId="3345305709" sldId="20986"/>
            <ac:spMk id="3" creationId="{F7354FD6-67C7-4140-A220-36185388888A}"/>
          </ac:spMkLst>
        </pc:spChg>
      </pc:sldChg>
      <pc:sldChg chg="addSp delSp modSp new mod">
        <pc:chgData name="Ninghan Hu" userId="3a421cb0-03f0-4748-9507-52fdf07c66bc" providerId="ADAL" clId="{63F95AF6-9902-43E2-A632-BE0953E7FC14}" dt="2021-11-18T20:20:30.093" v="322" actId="1076"/>
        <pc:sldMkLst>
          <pc:docMk/>
          <pc:sldMk cId="1535585073" sldId="20987"/>
        </pc:sldMkLst>
        <pc:spChg chg="mod">
          <ac:chgData name="Ninghan Hu" userId="3a421cb0-03f0-4748-9507-52fdf07c66bc" providerId="ADAL" clId="{63F95AF6-9902-43E2-A632-BE0953E7FC14}" dt="2021-11-18T20:20:30.093" v="322" actId="1076"/>
          <ac:spMkLst>
            <pc:docMk/>
            <pc:sldMk cId="1535585073" sldId="20987"/>
            <ac:spMk id="2" creationId="{7900CE9C-82ED-4E61-8A26-4AA4B67A1708}"/>
          </ac:spMkLst>
        </pc:spChg>
        <pc:spChg chg="del mod">
          <ac:chgData name="Ninghan Hu" userId="3a421cb0-03f0-4748-9507-52fdf07c66bc" providerId="ADAL" clId="{63F95AF6-9902-43E2-A632-BE0953E7FC14}" dt="2021-11-18T20:09:23.873" v="220" actId="478"/>
          <ac:spMkLst>
            <pc:docMk/>
            <pc:sldMk cId="1535585073" sldId="20987"/>
            <ac:spMk id="3" creationId="{EC74EFED-9553-40B8-AC9B-9628D5F023B1}"/>
          </ac:spMkLst>
        </pc:spChg>
        <pc:spChg chg="add del mod">
          <ac:chgData name="Ninghan Hu" userId="3a421cb0-03f0-4748-9507-52fdf07c66bc" providerId="ADAL" clId="{63F95AF6-9902-43E2-A632-BE0953E7FC14}" dt="2021-11-18T20:06:42.940" v="192" actId="478"/>
          <ac:spMkLst>
            <pc:docMk/>
            <pc:sldMk cId="1535585073" sldId="20987"/>
            <ac:spMk id="10" creationId="{31981CDA-BF14-471A-9666-316C630D80C2}"/>
          </ac:spMkLst>
        </pc:spChg>
        <pc:spChg chg="add del mod">
          <ac:chgData name="Ninghan Hu" userId="3a421cb0-03f0-4748-9507-52fdf07c66bc" providerId="ADAL" clId="{63F95AF6-9902-43E2-A632-BE0953E7FC14}" dt="2021-11-18T20:09:25.942" v="221" actId="478"/>
          <ac:spMkLst>
            <pc:docMk/>
            <pc:sldMk cId="1535585073" sldId="20987"/>
            <ac:spMk id="12" creationId="{8D86CDCE-8724-4EA6-9182-E11B06FB3BCB}"/>
          </ac:spMkLst>
        </pc:spChg>
        <pc:picChg chg="add mod">
          <ac:chgData name="Ninghan Hu" userId="3a421cb0-03f0-4748-9507-52fdf07c66bc" providerId="ADAL" clId="{63F95AF6-9902-43E2-A632-BE0953E7FC14}" dt="2021-11-18T20:20:20.398" v="320" actId="1076"/>
          <ac:picMkLst>
            <pc:docMk/>
            <pc:sldMk cId="1535585073" sldId="20987"/>
            <ac:picMk id="5" creationId="{7991652A-A1A6-4C07-A1F9-F4AECBE750F4}"/>
          </ac:picMkLst>
        </pc:picChg>
        <pc:picChg chg="add mod">
          <ac:chgData name="Ninghan Hu" userId="3a421cb0-03f0-4748-9507-52fdf07c66bc" providerId="ADAL" clId="{63F95AF6-9902-43E2-A632-BE0953E7FC14}" dt="2021-11-18T20:20:20.398" v="320" actId="1076"/>
          <ac:picMkLst>
            <pc:docMk/>
            <pc:sldMk cId="1535585073" sldId="20987"/>
            <ac:picMk id="7" creationId="{17DFCD7A-4834-4971-8ABD-02F4340AE434}"/>
          </ac:picMkLst>
        </pc:picChg>
        <pc:picChg chg="add mod">
          <ac:chgData name="Ninghan Hu" userId="3a421cb0-03f0-4748-9507-52fdf07c66bc" providerId="ADAL" clId="{63F95AF6-9902-43E2-A632-BE0953E7FC14}" dt="2021-11-18T20:20:20.398" v="320" actId="1076"/>
          <ac:picMkLst>
            <pc:docMk/>
            <pc:sldMk cId="1535585073" sldId="20987"/>
            <ac:picMk id="9" creationId="{765C738D-DC64-4543-8B61-66AE3207CE95}"/>
          </ac:picMkLst>
        </pc:picChg>
        <pc:picChg chg="add mod">
          <ac:chgData name="Ninghan Hu" userId="3a421cb0-03f0-4748-9507-52fdf07c66bc" providerId="ADAL" clId="{63F95AF6-9902-43E2-A632-BE0953E7FC14}" dt="2021-11-18T20:20:20.398" v="320" actId="1076"/>
          <ac:picMkLst>
            <pc:docMk/>
            <pc:sldMk cId="1535585073" sldId="20987"/>
            <ac:picMk id="4098" creationId="{7E9D9CB2-11DB-4326-A41F-CD525F55BC48}"/>
          </ac:picMkLst>
        </pc:picChg>
      </pc:sldChg>
    </pc:docChg>
  </pc:docChgLst>
  <pc:docChgLst>
    <pc:chgData name="Eugene Fang" userId="26fcf863-418f-46a4-8435-8e867823a3ac" providerId="ADAL" clId="{77B9291B-2139-4240-8AAC-9278E7946259}"/>
    <pc:docChg chg="undo custSel addSld modSld modMainMaster">
      <pc:chgData name="Eugene Fang" userId="26fcf863-418f-46a4-8435-8e867823a3ac" providerId="ADAL" clId="{77B9291B-2139-4240-8AAC-9278E7946259}" dt="2021-11-18T14:35:00.025" v="1663" actId="208"/>
      <pc:docMkLst>
        <pc:docMk/>
      </pc:docMkLst>
      <pc:sldChg chg="addSp delSp modSp new add mod">
        <pc:chgData name="Eugene Fang" userId="26fcf863-418f-46a4-8435-8e867823a3ac" providerId="ADAL" clId="{77B9291B-2139-4240-8AAC-9278E7946259}" dt="2021-11-18T14:32:47.773" v="1602" actId="207"/>
        <pc:sldMkLst>
          <pc:docMk/>
          <pc:sldMk cId="301898739" sldId="20984"/>
        </pc:sldMkLst>
        <pc:spChg chg="del">
          <ac:chgData name="Eugene Fang" userId="26fcf863-418f-46a4-8435-8e867823a3ac" providerId="ADAL" clId="{77B9291B-2139-4240-8AAC-9278E7946259}" dt="2021-11-18T13:24:16.846" v="95" actId="478"/>
          <ac:spMkLst>
            <pc:docMk/>
            <pc:sldMk cId="301898739" sldId="20984"/>
            <ac:spMk id="2" creationId="{DD17F432-7EBD-4BA7-8FCD-BB5BDBB42634}"/>
          </ac:spMkLst>
        </pc:spChg>
        <pc:spChg chg="mod ord">
          <ac:chgData name="Eugene Fang" userId="26fcf863-418f-46a4-8435-8e867823a3ac" providerId="ADAL" clId="{77B9291B-2139-4240-8AAC-9278E7946259}" dt="2021-11-18T13:47:35.610" v="728"/>
          <ac:spMkLst>
            <pc:docMk/>
            <pc:sldMk cId="301898739" sldId="20984"/>
            <ac:spMk id="3" creationId="{EC96C83E-B442-476F-94F1-F4ECF50E2981}"/>
          </ac:spMkLst>
        </pc:spChg>
        <pc:spChg chg="mod ord">
          <ac:chgData name="Eugene Fang" userId="26fcf863-418f-46a4-8435-8e867823a3ac" providerId="ADAL" clId="{77B9291B-2139-4240-8AAC-9278E7946259}" dt="2021-11-18T13:55:39.747" v="827" actId="20577"/>
          <ac:spMkLst>
            <pc:docMk/>
            <pc:sldMk cId="301898739" sldId="20984"/>
            <ac:spMk id="4" creationId="{5A1E54EA-47AE-4A54-9ABB-B0EBB5EA832D}"/>
          </ac:spMkLst>
        </pc:spChg>
        <pc:spChg chg="add mod ord">
          <ac:chgData name="Eugene Fang" userId="26fcf863-418f-46a4-8435-8e867823a3ac" providerId="ADAL" clId="{77B9291B-2139-4240-8AAC-9278E7946259}" dt="2021-11-18T13:49:00.024" v="749" actId="1076"/>
          <ac:spMkLst>
            <pc:docMk/>
            <pc:sldMk cId="301898739" sldId="20984"/>
            <ac:spMk id="6" creationId="{C0E5AD34-23C9-48BB-8237-FC4733590C17}"/>
          </ac:spMkLst>
        </pc:spChg>
        <pc:spChg chg="add mod ord">
          <ac:chgData name="Eugene Fang" userId="26fcf863-418f-46a4-8435-8e867823a3ac" providerId="ADAL" clId="{77B9291B-2139-4240-8AAC-9278E7946259}" dt="2021-11-18T14:32:47.773" v="1602" actId="207"/>
          <ac:spMkLst>
            <pc:docMk/>
            <pc:sldMk cId="301898739" sldId="20984"/>
            <ac:spMk id="7" creationId="{B6565A67-28FC-4CCC-95A2-61BC2D5DC5A6}"/>
          </ac:spMkLst>
        </pc:spChg>
        <pc:spChg chg="add mod ord">
          <ac:chgData name="Eugene Fang" userId="26fcf863-418f-46a4-8435-8e867823a3ac" providerId="ADAL" clId="{77B9291B-2139-4240-8AAC-9278E7946259}" dt="2021-11-18T13:47:35.616" v="736"/>
          <ac:spMkLst>
            <pc:docMk/>
            <pc:sldMk cId="301898739" sldId="20984"/>
            <ac:spMk id="9" creationId="{EF8D148E-2029-4F9A-A49F-46075634F4C3}"/>
          </ac:spMkLst>
        </pc:spChg>
        <pc:spChg chg="add del mod">
          <ac:chgData name="Eugene Fang" userId="26fcf863-418f-46a4-8435-8e867823a3ac" providerId="ADAL" clId="{77B9291B-2139-4240-8AAC-9278E7946259}" dt="2021-11-18T13:36:46.043" v="486" actId="478"/>
          <ac:spMkLst>
            <pc:docMk/>
            <pc:sldMk cId="301898739" sldId="20984"/>
            <ac:spMk id="10" creationId="{D9CEB59B-B08C-4FCB-85E3-A3C2F02E0A3E}"/>
          </ac:spMkLst>
        </pc:spChg>
        <pc:grpChg chg="add mod">
          <ac:chgData name="Eugene Fang" userId="26fcf863-418f-46a4-8435-8e867823a3ac" providerId="ADAL" clId="{77B9291B-2139-4240-8AAC-9278E7946259}" dt="2021-11-18T13:49:49.803" v="755" actId="164"/>
          <ac:grpSpMkLst>
            <pc:docMk/>
            <pc:sldMk cId="301898739" sldId="20984"/>
            <ac:grpSpMk id="11" creationId="{AA1C913C-A40C-4731-8608-B753573A119F}"/>
          </ac:grpSpMkLst>
        </pc:grpChg>
        <pc:graphicFrameChg chg="add mod ord modVis">
          <ac:chgData name="Eugene Fang" userId="26fcf863-418f-46a4-8435-8e867823a3ac" providerId="ADAL" clId="{77B9291B-2139-4240-8AAC-9278E7946259}" dt="2021-11-18T13:47:35.635" v="738"/>
          <ac:graphicFrameMkLst>
            <pc:docMk/>
            <pc:sldMk cId="301898739" sldId="20984"/>
            <ac:graphicFrameMk id="5" creationId="{DE119F00-160D-4174-9F56-197B77763044}"/>
          </ac:graphicFrameMkLst>
        </pc:graphicFrameChg>
        <pc:picChg chg="add mod">
          <ac:chgData name="Eugene Fang" userId="26fcf863-418f-46a4-8435-8e867823a3ac" providerId="ADAL" clId="{77B9291B-2139-4240-8AAC-9278E7946259}" dt="2021-11-18T13:50:16.428" v="757" actId="1440"/>
          <ac:picMkLst>
            <pc:docMk/>
            <pc:sldMk cId="301898739" sldId="20984"/>
            <ac:picMk id="1026" creationId="{E68EFA24-7561-4A5B-B740-3105F6DF3AE3}"/>
          </ac:picMkLst>
        </pc:picChg>
        <pc:picChg chg="add del mod">
          <ac:chgData name="Eugene Fang" userId="26fcf863-418f-46a4-8435-8e867823a3ac" providerId="ADAL" clId="{77B9291B-2139-4240-8AAC-9278E7946259}" dt="2021-11-18T13:46:43.872" v="717" actId="478"/>
          <ac:picMkLst>
            <pc:docMk/>
            <pc:sldMk cId="301898739" sldId="20984"/>
            <ac:picMk id="1028" creationId="{2B7EC35E-68E9-4D54-817D-418A071FF2C1}"/>
          </ac:picMkLst>
        </pc:picChg>
        <pc:picChg chg="add del mod">
          <ac:chgData name="Eugene Fang" userId="26fcf863-418f-46a4-8435-8e867823a3ac" providerId="ADAL" clId="{77B9291B-2139-4240-8AAC-9278E7946259}" dt="2021-11-18T13:49:49.803" v="755" actId="164"/>
          <ac:picMkLst>
            <pc:docMk/>
            <pc:sldMk cId="301898739" sldId="20984"/>
            <ac:picMk id="1030" creationId="{3773D5D5-B926-4EFF-B6E6-316D838238E9}"/>
          </ac:picMkLst>
        </pc:picChg>
      </pc:sldChg>
      <pc:sldChg chg="addSp delSp modSp new add mod">
        <pc:chgData name="Eugene Fang" userId="26fcf863-418f-46a4-8435-8e867823a3ac" providerId="ADAL" clId="{77B9291B-2139-4240-8AAC-9278E7946259}" dt="2021-11-18T14:35:00.025" v="1663" actId="208"/>
        <pc:sldMkLst>
          <pc:docMk/>
          <pc:sldMk cId="1072258767" sldId="20985"/>
        </pc:sldMkLst>
        <pc:spChg chg="del">
          <ac:chgData name="Eugene Fang" userId="26fcf863-418f-46a4-8435-8e867823a3ac" providerId="ADAL" clId="{77B9291B-2139-4240-8AAC-9278E7946259}" dt="2021-11-18T14:04:44.404" v="828" actId="478"/>
          <ac:spMkLst>
            <pc:docMk/>
            <pc:sldMk cId="1072258767" sldId="20985"/>
            <ac:spMk id="2" creationId="{AF4FE55C-3752-4B22-86D2-49E02F208AA9}"/>
          </ac:spMkLst>
        </pc:spChg>
        <pc:spChg chg="mod ord">
          <ac:chgData name="Eugene Fang" userId="26fcf863-418f-46a4-8435-8e867823a3ac" providerId="ADAL" clId="{77B9291B-2139-4240-8AAC-9278E7946259}" dt="2021-11-18T14:22:10.916" v="1416"/>
          <ac:spMkLst>
            <pc:docMk/>
            <pc:sldMk cId="1072258767" sldId="20985"/>
            <ac:spMk id="3" creationId="{79601699-A63D-4A23-B05A-7C354F6E95EB}"/>
          </ac:spMkLst>
        </pc:spChg>
        <pc:spChg chg="mod ord">
          <ac:chgData name="Eugene Fang" userId="26fcf863-418f-46a4-8435-8e867823a3ac" providerId="ADAL" clId="{77B9291B-2139-4240-8AAC-9278E7946259}" dt="2021-11-18T14:22:10.917" v="1418"/>
          <ac:spMkLst>
            <pc:docMk/>
            <pc:sldMk cId="1072258767" sldId="20985"/>
            <ac:spMk id="4" creationId="{3BA8AFA5-B179-4757-AFE4-04E94B308E8B}"/>
          </ac:spMkLst>
        </pc:spChg>
        <pc:spChg chg="add del mod ord">
          <ac:chgData name="Eugene Fang" userId="26fcf863-418f-46a4-8435-8e867823a3ac" providerId="ADAL" clId="{77B9291B-2139-4240-8AAC-9278E7946259}" dt="2021-11-18T14:08:08.291" v="978" actId="478"/>
          <ac:spMkLst>
            <pc:docMk/>
            <pc:sldMk cId="1072258767" sldId="20985"/>
            <ac:spMk id="5" creationId="{4317332F-DBBB-4586-A213-EBCC3F2B45DE}"/>
          </ac:spMkLst>
        </pc:spChg>
        <pc:spChg chg="add del mod ord">
          <ac:chgData name="Eugene Fang" userId="26fcf863-418f-46a4-8435-8e867823a3ac" providerId="ADAL" clId="{77B9291B-2139-4240-8AAC-9278E7946259}" dt="2021-11-18T14:09:20.580" v="995" actId="478"/>
          <ac:spMkLst>
            <pc:docMk/>
            <pc:sldMk cId="1072258767" sldId="20985"/>
            <ac:spMk id="6" creationId="{3E3FA73D-E8BD-4334-9F59-3A9316FE1333}"/>
          </ac:spMkLst>
        </pc:spChg>
        <pc:spChg chg="add mod ord">
          <ac:chgData name="Eugene Fang" userId="26fcf863-418f-46a4-8435-8e867823a3ac" providerId="ADAL" clId="{77B9291B-2139-4240-8AAC-9278E7946259}" dt="2021-11-18T14:30:32.782" v="1598" actId="20577"/>
          <ac:spMkLst>
            <pc:docMk/>
            <pc:sldMk cId="1072258767" sldId="20985"/>
            <ac:spMk id="7" creationId="{6855F8AB-90B3-4FBE-8B3E-AB44603F6D29}"/>
          </ac:spMkLst>
        </pc:spChg>
        <pc:spChg chg="add mod ord">
          <ac:chgData name="Eugene Fang" userId="26fcf863-418f-46a4-8435-8e867823a3ac" providerId="ADAL" clId="{77B9291B-2139-4240-8AAC-9278E7946259}" dt="2021-11-18T14:33:52.115" v="1644" actId="1076"/>
          <ac:spMkLst>
            <pc:docMk/>
            <pc:sldMk cId="1072258767" sldId="20985"/>
            <ac:spMk id="8" creationId="{82822C11-5927-45CB-8939-B8D599FEDFE4}"/>
          </ac:spMkLst>
        </pc:spChg>
        <pc:spChg chg="add mod ord">
          <ac:chgData name="Eugene Fang" userId="26fcf863-418f-46a4-8435-8e867823a3ac" providerId="ADAL" clId="{77B9291B-2139-4240-8AAC-9278E7946259}" dt="2021-11-18T14:22:10.918" v="1424"/>
          <ac:spMkLst>
            <pc:docMk/>
            <pc:sldMk cId="1072258767" sldId="20985"/>
            <ac:spMk id="10" creationId="{BCB0F9E8-59B3-439E-AB29-BE675FA3D7D4}"/>
          </ac:spMkLst>
        </pc:spChg>
        <pc:spChg chg="add del mod modVis">
          <ac:chgData name="Eugene Fang" userId="26fcf863-418f-46a4-8435-8e867823a3ac" providerId="ADAL" clId="{77B9291B-2139-4240-8AAC-9278E7946259}" dt="2021-11-18T14:10:33.732" v="1040"/>
          <ac:spMkLst>
            <pc:docMk/>
            <pc:sldMk cId="1072258767" sldId="20985"/>
            <ac:spMk id="20" creationId="{EADF94C1-80BB-4A70-89F2-6BF12C54EE75}"/>
          </ac:spMkLst>
        </pc:spChg>
        <pc:spChg chg="add del mod modVis">
          <ac:chgData name="Eugene Fang" userId="26fcf863-418f-46a4-8435-8e867823a3ac" providerId="ADAL" clId="{77B9291B-2139-4240-8AAC-9278E7946259}" dt="2021-11-18T14:10:37.743" v="1104"/>
          <ac:spMkLst>
            <pc:docMk/>
            <pc:sldMk cId="1072258767" sldId="20985"/>
            <ac:spMk id="21" creationId="{7DE45223-D7C4-4524-9063-0E0171A6CC27}"/>
          </ac:spMkLst>
        </pc:spChg>
        <pc:spChg chg="add mod ord">
          <ac:chgData name="Eugene Fang" userId="26fcf863-418f-46a4-8435-8e867823a3ac" providerId="ADAL" clId="{77B9291B-2139-4240-8AAC-9278E7946259}" dt="2021-11-18T14:33:06.532" v="1631" actId="1076"/>
          <ac:spMkLst>
            <pc:docMk/>
            <pc:sldMk cId="1072258767" sldId="20985"/>
            <ac:spMk id="22" creationId="{E607B256-C70A-46BC-874E-504C8320BE53}"/>
          </ac:spMkLst>
        </pc:spChg>
        <pc:spChg chg="add del mod ord">
          <ac:chgData name="Eugene Fang" userId="26fcf863-418f-46a4-8435-8e867823a3ac" providerId="ADAL" clId="{77B9291B-2139-4240-8AAC-9278E7946259}" dt="2021-11-18T14:29:14.943" v="1591" actId="207"/>
          <ac:spMkLst>
            <pc:docMk/>
            <pc:sldMk cId="1072258767" sldId="20985"/>
            <ac:spMk id="23" creationId="{67AB3247-B8EF-4A78-8CCB-DCF93D6DCD5B}"/>
          </ac:spMkLst>
        </pc:spChg>
        <pc:spChg chg="add mod">
          <ac:chgData name="Eugene Fang" userId="26fcf863-418f-46a4-8435-8e867823a3ac" providerId="ADAL" clId="{77B9291B-2139-4240-8AAC-9278E7946259}" dt="2021-11-18T14:35:00.025" v="1663" actId="208"/>
          <ac:spMkLst>
            <pc:docMk/>
            <pc:sldMk cId="1072258767" sldId="20985"/>
            <ac:spMk id="26" creationId="{50DAABF8-5670-4C09-93DE-A18EE11E2FDC}"/>
          </ac:spMkLst>
        </pc:spChg>
        <pc:spChg chg="add mod">
          <ac:chgData name="Eugene Fang" userId="26fcf863-418f-46a4-8435-8e867823a3ac" providerId="ADAL" clId="{77B9291B-2139-4240-8AAC-9278E7946259}" dt="2021-11-18T14:34:45.589" v="1662" actId="207"/>
          <ac:spMkLst>
            <pc:docMk/>
            <pc:sldMk cId="1072258767" sldId="20985"/>
            <ac:spMk id="34" creationId="{AE641068-39D6-4179-AAE1-A7B7BA590EBA}"/>
          </ac:spMkLst>
        </pc:spChg>
        <pc:graphicFrameChg chg="add mod ord modVis">
          <ac:chgData name="Eugene Fang" userId="26fcf863-418f-46a4-8435-8e867823a3ac" providerId="ADAL" clId="{77B9291B-2139-4240-8AAC-9278E7946259}" dt="2021-11-18T14:22:10.929" v="1441"/>
          <ac:graphicFrameMkLst>
            <pc:docMk/>
            <pc:sldMk cId="1072258767" sldId="20985"/>
            <ac:graphicFrameMk id="9" creationId="{8E0E63AE-1F16-412B-B00B-DC954B74564F}"/>
          </ac:graphicFrameMkLst>
        </pc:graphicFrameChg>
        <pc:picChg chg="add mod">
          <ac:chgData name="Eugene Fang" userId="26fcf863-418f-46a4-8435-8e867823a3ac" providerId="ADAL" clId="{77B9291B-2139-4240-8AAC-9278E7946259}" dt="2021-11-18T14:30:35.753" v="1599" actId="1076"/>
          <ac:picMkLst>
            <pc:docMk/>
            <pc:sldMk cId="1072258767" sldId="20985"/>
            <ac:picMk id="25" creationId="{A09E5B3F-F3C5-4343-A3CA-77295F435D28}"/>
          </ac:picMkLst>
        </pc:picChg>
        <pc:picChg chg="add del">
          <ac:chgData name="Eugene Fang" userId="26fcf863-418f-46a4-8435-8e867823a3ac" providerId="ADAL" clId="{77B9291B-2139-4240-8AAC-9278E7946259}" dt="2021-11-18T14:12:41.529" v="1108" actId="478"/>
          <ac:picMkLst>
            <pc:docMk/>
            <pc:sldMk cId="1072258767" sldId="20985"/>
            <ac:picMk id="2050" creationId="{C1694C45-5FFF-41DA-ACB1-2B0CF0E49D38}"/>
          </ac:picMkLst>
        </pc:picChg>
        <pc:picChg chg="add del mod">
          <ac:chgData name="Eugene Fang" userId="26fcf863-418f-46a4-8435-8e867823a3ac" providerId="ADAL" clId="{77B9291B-2139-4240-8AAC-9278E7946259}" dt="2021-11-18T14:23:39.642" v="1526" actId="478"/>
          <ac:picMkLst>
            <pc:docMk/>
            <pc:sldMk cId="1072258767" sldId="20985"/>
            <ac:picMk id="2052" creationId="{7C7D768D-B207-4682-A8ED-6EE4534D19DD}"/>
          </ac:picMkLst>
        </pc:picChg>
        <pc:picChg chg="add mod">
          <ac:chgData name="Eugene Fang" userId="26fcf863-418f-46a4-8435-8e867823a3ac" providerId="ADAL" clId="{77B9291B-2139-4240-8AAC-9278E7946259}" dt="2021-11-18T14:22:10.920" v="1436"/>
          <ac:picMkLst>
            <pc:docMk/>
            <pc:sldMk cId="1072258767" sldId="20985"/>
            <ac:picMk id="2054" creationId="{3B223018-6077-4A6A-9BA7-E27CB51F8048}"/>
          </ac:picMkLst>
        </pc:picChg>
        <pc:picChg chg="add mod">
          <ac:chgData name="Eugene Fang" userId="26fcf863-418f-46a4-8435-8e867823a3ac" providerId="ADAL" clId="{77B9291B-2139-4240-8AAC-9278E7946259}" dt="2021-11-18T14:22:10.921" v="1437"/>
          <ac:picMkLst>
            <pc:docMk/>
            <pc:sldMk cId="1072258767" sldId="20985"/>
            <ac:picMk id="2056" creationId="{5735440D-4A20-4C7C-8ABA-41862CC5078F}"/>
          </ac:picMkLst>
        </pc:picChg>
        <pc:picChg chg="add mod">
          <ac:chgData name="Eugene Fang" userId="26fcf863-418f-46a4-8435-8e867823a3ac" providerId="ADAL" clId="{77B9291B-2139-4240-8AAC-9278E7946259}" dt="2021-11-18T14:22:10.921" v="1438"/>
          <ac:picMkLst>
            <pc:docMk/>
            <pc:sldMk cId="1072258767" sldId="20985"/>
            <ac:picMk id="2058" creationId="{DE61FAC2-967E-402D-9349-3A9332AA6AB8}"/>
          </ac:picMkLst>
        </pc:picChg>
        <pc:picChg chg="add mod">
          <ac:chgData name="Eugene Fang" userId="26fcf863-418f-46a4-8435-8e867823a3ac" providerId="ADAL" clId="{77B9291B-2139-4240-8AAC-9278E7946259}" dt="2021-11-18T14:22:23.795" v="1443" actId="1076"/>
          <ac:picMkLst>
            <pc:docMk/>
            <pc:sldMk cId="1072258767" sldId="20985"/>
            <ac:picMk id="2060" creationId="{5824E5E4-D254-4522-AE21-D12F2C75A506}"/>
          </ac:picMkLst>
        </pc:picChg>
        <pc:picChg chg="add del mod">
          <ac:chgData name="Eugene Fang" userId="26fcf863-418f-46a4-8435-8e867823a3ac" providerId="ADAL" clId="{77B9291B-2139-4240-8AAC-9278E7946259}" dt="2021-11-18T14:26:28.225" v="1576" actId="478"/>
          <ac:picMkLst>
            <pc:docMk/>
            <pc:sldMk cId="1072258767" sldId="20985"/>
            <ac:picMk id="2062" creationId="{648C7486-5495-4A80-AA1A-830E5EF035E0}"/>
          </ac:picMkLst>
        </pc:picChg>
        <pc:cxnChg chg="add mod ord">
          <ac:chgData name="Eugene Fang" userId="26fcf863-418f-46a4-8435-8e867823a3ac" providerId="ADAL" clId="{77B9291B-2139-4240-8AAC-9278E7946259}" dt="2021-11-18T14:23:55.516" v="1555" actId="1038"/>
          <ac:cxnSpMkLst>
            <pc:docMk/>
            <pc:sldMk cId="1072258767" sldId="20985"/>
            <ac:cxnSpMk id="12" creationId="{5C1FB346-2839-472E-BCBD-E7720289D8AA}"/>
          </ac:cxnSpMkLst>
        </pc:cxnChg>
        <pc:cxnChg chg="add mod">
          <ac:chgData name="Eugene Fang" userId="26fcf863-418f-46a4-8435-8e867823a3ac" providerId="ADAL" clId="{77B9291B-2139-4240-8AAC-9278E7946259}" dt="2021-11-18T14:07:48.797" v="971"/>
          <ac:cxnSpMkLst>
            <pc:docMk/>
            <pc:sldMk cId="1072258767" sldId="20985"/>
            <ac:cxnSpMk id="14" creationId="{7F67A09D-A246-46D3-BC30-E5C488E2C261}"/>
          </ac:cxnSpMkLst>
        </pc:cxnChg>
        <pc:cxnChg chg="add mod ord">
          <ac:chgData name="Eugene Fang" userId="26fcf863-418f-46a4-8435-8e867823a3ac" providerId="ADAL" clId="{77B9291B-2139-4240-8AAC-9278E7946259}" dt="2021-11-18T14:23:55.516" v="1555" actId="1038"/>
          <ac:cxnSpMkLst>
            <pc:docMk/>
            <pc:sldMk cId="1072258767" sldId="20985"/>
            <ac:cxnSpMk id="16" creationId="{A6CC27D3-A48C-4E44-B7E4-99CCEAAF4CD2}"/>
          </ac:cxnSpMkLst>
        </pc:cxnChg>
        <pc:cxnChg chg="add mod ord">
          <ac:chgData name="Eugene Fang" userId="26fcf863-418f-46a4-8435-8e867823a3ac" providerId="ADAL" clId="{77B9291B-2139-4240-8AAC-9278E7946259}" dt="2021-11-18T14:22:46.949" v="1505" actId="1035"/>
          <ac:cxnSpMkLst>
            <pc:docMk/>
            <pc:sldMk cId="1072258767" sldId="20985"/>
            <ac:cxnSpMk id="17" creationId="{F70C6B27-E8E0-40F7-86C7-19D4438F0DA7}"/>
          </ac:cxnSpMkLst>
        </pc:cxnChg>
        <pc:cxnChg chg="add mod ord">
          <ac:chgData name="Eugene Fang" userId="26fcf863-418f-46a4-8435-8e867823a3ac" providerId="ADAL" clId="{77B9291B-2139-4240-8AAC-9278E7946259}" dt="2021-11-18T14:22:46.949" v="1505" actId="1035"/>
          <ac:cxnSpMkLst>
            <pc:docMk/>
            <pc:sldMk cId="1072258767" sldId="20985"/>
            <ac:cxnSpMk id="19" creationId="{00D693F9-7289-4D0D-B164-B8AA5DBC5D09}"/>
          </ac:cxnSpMkLst>
        </pc:cxnChg>
      </pc:sldChg>
      <pc:sldMasterChg chg="addSp modSp mod">
        <pc:chgData name="Eugene Fang" userId="26fcf863-418f-46a4-8435-8e867823a3ac" providerId="ADAL" clId="{77B9291B-2139-4240-8AAC-9278E7946259}" dt="2021-11-18T13:01:46.886" v="26"/>
        <pc:sldMasterMkLst>
          <pc:docMk/>
          <pc:sldMasterMk cId="2703640128" sldId="2147483660"/>
        </pc:sldMasterMkLst>
        <pc:graphicFrameChg chg="add mod ord modVis">
          <ac:chgData name="Eugene Fang" userId="26fcf863-418f-46a4-8435-8e867823a3ac" providerId="ADAL" clId="{77B9291B-2139-4240-8AAC-9278E7946259}" dt="2021-11-18T13:01:46.886" v="26"/>
          <ac:graphicFrameMkLst>
            <pc:docMk/>
            <pc:sldMasterMk cId="2703640128" sldId="2147483660"/>
            <ac:graphicFrameMk id="2" creationId="{9CC7A5B6-CE79-4263-B6E4-B0A082EF34BF}"/>
          </ac:graphicFrameMkLst>
        </pc:graphicFrameChg>
      </pc:sldMasterChg>
    </pc:docChg>
  </pc:docChgLst>
  <pc:docChgLst>
    <pc:chgData name="Prolay Ghosh" userId="b7af4a88-195a-4c77-9339-a13732cd096f" providerId="ADAL" clId="{3625CD61-9FE5-4276-9799-D1F011D1F900}"/>
    <pc:docChg chg="undo custSel addSld modSld">
      <pc:chgData name="Prolay Ghosh" userId="b7af4a88-195a-4c77-9339-a13732cd096f" providerId="ADAL" clId="{3625CD61-9FE5-4276-9799-D1F011D1F900}" dt="2021-06-15T10:26:27.321" v="740" actId="313"/>
      <pc:docMkLst>
        <pc:docMk/>
      </pc:docMkLst>
      <pc:sldChg chg="modSp">
        <pc:chgData name="Prolay Ghosh" userId="b7af4a88-195a-4c77-9339-a13732cd096f" providerId="ADAL" clId="{3625CD61-9FE5-4276-9799-D1F011D1F900}" dt="2021-06-14T12:21:51.917" v="10" actId="14100"/>
        <pc:sldMkLst>
          <pc:docMk/>
          <pc:sldMk cId="1522897806" sldId="20973"/>
        </pc:sldMkLst>
        <pc:spChg chg="mod">
          <ac:chgData name="Prolay Ghosh" userId="b7af4a88-195a-4c77-9339-a13732cd096f" providerId="ADAL" clId="{3625CD61-9FE5-4276-9799-D1F011D1F900}" dt="2021-06-14T12:20:51.318" v="4" actId="6549"/>
          <ac:spMkLst>
            <pc:docMk/>
            <pc:sldMk cId="1522897806" sldId="20973"/>
            <ac:spMk id="76" creationId="{00000000-0000-0000-0000-000000000000}"/>
          </ac:spMkLst>
        </pc:spChg>
        <pc:spChg chg="mod">
          <ac:chgData name="Prolay Ghosh" userId="b7af4a88-195a-4c77-9339-a13732cd096f" providerId="ADAL" clId="{3625CD61-9FE5-4276-9799-D1F011D1F900}" dt="2021-06-14T12:21:26.266" v="7" actId="108"/>
          <ac:spMkLst>
            <pc:docMk/>
            <pc:sldMk cId="1522897806" sldId="20973"/>
            <ac:spMk id="83" creationId="{00000000-0000-0000-0000-000000000000}"/>
          </ac:spMkLst>
        </pc:spChg>
        <pc:spChg chg="mod">
          <ac:chgData name="Prolay Ghosh" userId="b7af4a88-195a-4c77-9339-a13732cd096f" providerId="ADAL" clId="{3625CD61-9FE5-4276-9799-D1F011D1F900}" dt="2021-06-14T12:21:02.036" v="6" actId="1076"/>
          <ac:spMkLst>
            <pc:docMk/>
            <pc:sldMk cId="1522897806" sldId="20973"/>
            <ac:spMk id="89" creationId="{00000000-0000-0000-0000-000000000000}"/>
          </ac:spMkLst>
        </pc:spChg>
        <pc:spChg chg="mod">
          <ac:chgData name="Prolay Ghosh" userId="b7af4a88-195a-4c77-9339-a13732cd096f" providerId="ADAL" clId="{3625CD61-9FE5-4276-9799-D1F011D1F900}" dt="2021-06-14T12:21:51.917" v="10" actId="14100"/>
          <ac:spMkLst>
            <pc:docMk/>
            <pc:sldMk cId="1522897806" sldId="20973"/>
            <ac:spMk id="90" creationId="{00000000-0000-0000-0000-000000000000}"/>
          </ac:spMkLst>
        </pc:spChg>
      </pc:sldChg>
      <pc:sldChg chg="addSp delSp modSp add">
        <pc:chgData name="Prolay Ghosh" userId="b7af4a88-195a-4c77-9339-a13732cd096f" providerId="ADAL" clId="{3625CD61-9FE5-4276-9799-D1F011D1F900}" dt="2021-06-15T08:21:31.154" v="325" actId="1076"/>
        <pc:sldMkLst>
          <pc:docMk/>
          <pc:sldMk cId="1759216574" sldId="20974"/>
        </pc:sldMkLst>
        <pc:spChg chg="add mod">
          <ac:chgData name="Prolay Ghosh" userId="b7af4a88-195a-4c77-9339-a13732cd096f" providerId="ADAL" clId="{3625CD61-9FE5-4276-9799-D1F011D1F900}" dt="2021-06-15T08:21:31.154" v="325" actId="1076"/>
          <ac:spMkLst>
            <pc:docMk/>
            <pc:sldMk cId="1759216574" sldId="20974"/>
            <ac:spMk id="2" creationId="{5F348706-F2B1-40E0-A61F-EFCCC88ABA29}"/>
          </ac:spMkLst>
        </pc:spChg>
        <pc:spChg chg="mod">
          <ac:chgData name="Prolay Ghosh" userId="b7af4a88-195a-4c77-9339-a13732cd096f" providerId="ADAL" clId="{3625CD61-9FE5-4276-9799-D1F011D1F900}" dt="2021-06-14T12:32:15.542" v="41" actId="20577"/>
          <ac:spMkLst>
            <pc:docMk/>
            <pc:sldMk cId="1759216574" sldId="20974"/>
            <ac:spMk id="3" creationId="{627520A6-510D-4A36-91C0-951D65962E3D}"/>
          </ac:spMkLst>
        </pc:spChg>
        <pc:spChg chg="add del mod">
          <ac:chgData name="Prolay Ghosh" userId="b7af4a88-195a-4c77-9339-a13732cd096f" providerId="ADAL" clId="{3625CD61-9FE5-4276-9799-D1F011D1F900}" dt="2021-06-15T08:20:34.256" v="316" actId="478"/>
          <ac:spMkLst>
            <pc:docMk/>
            <pc:sldMk cId="1759216574" sldId="20974"/>
            <ac:spMk id="7" creationId="{57751818-9B67-47DB-AAC9-41B272A277DC}"/>
          </ac:spMkLst>
        </pc:spChg>
        <pc:spChg chg="add mod">
          <ac:chgData name="Prolay Ghosh" userId="b7af4a88-195a-4c77-9339-a13732cd096f" providerId="ADAL" clId="{3625CD61-9FE5-4276-9799-D1F011D1F900}" dt="2021-06-15T08:20:03.577" v="313" actId="1076"/>
          <ac:spMkLst>
            <pc:docMk/>
            <pc:sldMk cId="1759216574" sldId="20974"/>
            <ac:spMk id="17" creationId="{AE31638E-F2F7-4F74-814F-FD585F12F6AD}"/>
          </ac:spMkLst>
        </pc:spChg>
        <pc:spChg chg="del">
          <ac:chgData name="Prolay Ghosh" userId="b7af4a88-195a-4c77-9339-a13732cd096f" providerId="ADAL" clId="{3625CD61-9FE5-4276-9799-D1F011D1F900}" dt="2021-06-14T12:31:59.768" v="12" actId="478"/>
          <ac:spMkLst>
            <pc:docMk/>
            <pc:sldMk cId="1759216574" sldId="20974"/>
            <ac:spMk id="27" creationId="{00000000-0000-0000-0000-000000000000}"/>
          </ac:spMkLst>
        </pc:spChg>
        <pc:spChg chg="del">
          <ac:chgData name="Prolay Ghosh" userId="b7af4a88-195a-4c77-9339-a13732cd096f" providerId="ADAL" clId="{3625CD61-9FE5-4276-9799-D1F011D1F900}" dt="2021-06-14T12:31:59.768" v="12" actId="478"/>
          <ac:spMkLst>
            <pc:docMk/>
            <pc:sldMk cId="1759216574" sldId="20974"/>
            <ac:spMk id="28" creationId="{00000000-0000-0000-0000-000000000000}"/>
          </ac:spMkLst>
        </pc:spChg>
        <pc:spChg chg="add del mod">
          <ac:chgData name="Prolay Ghosh" userId="b7af4a88-195a-4c77-9339-a13732cd096f" providerId="ADAL" clId="{3625CD61-9FE5-4276-9799-D1F011D1F900}" dt="2021-06-15T08:20:37.085" v="317" actId="478"/>
          <ac:spMkLst>
            <pc:docMk/>
            <pc:sldMk cId="1759216574" sldId="20974"/>
            <ac:spMk id="28" creationId="{DD38B491-7113-45D5-8373-44467AF69137}"/>
          </ac:spMkLst>
        </pc:spChg>
        <pc:spChg chg="del">
          <ac:chgData name="Prolay Ghosh" userId="b7af4a88-195a-4c77-9339-a13732cd096f" providerId="ADAL" clId="{3625CD61-9FE5-4276-9799-D1F011D1F900}" dt="2021-06-14T12:31:59.768" v="12" actId="478"/>
          <ac:spMkLst>
            <pc:docMk/>
            <pc:sldMk cId="1759216574" sldId="20974"/>
            <ac:spMk id="29" creationId="{00000000-0000-0000-0000-000000000000}"/>
          </ac:spMkLst>
        </pc:spChg>
        <pc:spChg chg="del">
          <ac:chgData name="Prolay Ghosh" userId="b7af4a88-195a-4c77-9339-a13732cd096f" providerId="ADAL" clId="{3625CD61-9FE5-4276-9799-D1F011D1F900}" dt="2021-06-14T12:31:59.768" v="12" actId="478"/>
          <ac:spMkLst>
            <pc:docMk/>
            <pc:sldMk cId="1759216574" sldId="20974"/>
            <ac:spMk id="30" creationId="{00000000-0000-0000-0000-000000000000}"/>
          </ac:spMkLst>
        </pc:spChg>
        <pc:spChg chg="add mod">
          <ac:chgData name="Prolay Ghosh" userId="b7af4a88-195a-4c77-9339-a13732cd096f" providerId="ADAL" clId="{3625CD61-9FE5-4276-9799-D1F011D1F900}" dt="2021-06-15T08:20:03.577" v="313" actId="1076"/>
          <ac:spMkLst>
            <pc:docMk/>
            <pc:sldMk cId="1759216574" sldId="20974"/>
            <ac:spMk id="30" creationId="{E50ABEBE-86FD-497C-8141-745DD4513FBD}"/>
          </ac:spMkLst>
        </pc:spChg>
        <pc:spChg chg="del">
          <ac:chgData name="Prolay Ghosh" userId="b7af4a88-195a-4c77-9339-a13732cd096f" providerId="ADAL" clId="{3625CD61-9FE5-4276-9799-D1F011D1F900}" dt="2021-06-14T12:31:59.768" v="12" actId="478"/>
          <ac:spMkLst>
            <pc:docMk/>
            <pc:sldMk cId="1759216574" sldId="20974"/>
            <ac:spMk id="31" creationId="{00000000-0000-0000-0000-000000000000}"/>
          </ac:spMkLst>
        </pc:spChg>
        <pc:spChg chg="add mod">
          <ac:chgData name="Prolay Ghosh" userId="b7af4a88-195a-4c77-9339-a13732cd096f" providerId="ADAL" clId="{3625CD61-9FE5-4276-9799-D1F011D1F900}" dt="2021-06-15T08:20:03.577" v="313" actId="1076"/>
          <ac:spMkLst>
            <pc:docMk/>
            <pc:sldMk cId="1759216574" sldId="20974"/>
            <ac:spMk id="31" creationId="{00DCB9CC-6708-4A30-A2DA-27C3140E1031}"/>
          </ac:spMkLst>
        </pc:spChg>
        <pc:spChg chg="del">
          <ac:chgData name="Prolay Ghosh" userId="b7af4a88-195a-4c77-9339-a13732cd096f" providerId="ADAL" clId="{3625CD61-9FE5-4276-9799-D1F011D1F900}" dt="2021-06-14T12:31:59.768" v="12" actId="478"/>
          <ac:spMkLst>
            <pc:docMk/>
            <pc:sldMk cId="1759216574" sldId="20974"/>
            <ac:spMk id="32" creationId="{00000000-0000-0000-0000-000000000000}"/>
          </ac:spMkLst>
        </pc:spChg>
        <pc:spChg chg="add mod">
          <ac:chgData name="Prolay Ghosh" userId="b7af4a88-195a-4c77-9339-a13732cd096f" providerId="ADAL" clId="{3625CD61-9FE5-4276-9799-D1F011D1F900}" dt="2021-06-15T08:20:10.772" v="315" actId="1076"/>
          <ac:spMkLst>
            <pc:docMk/>
            <pc:sldMk cId="1759216574" sldId="20974"/>
            <ac:spMk id="32" creationId="{2340231C-7DE3-4441-8824-CC8BC5CD558E}"/>
          </ac:spMkLst>
        </pc:spChg>
        <pc:spChg chg="del">
          <ac:chgData name="Prolay Ghosh" userId="b7af4a88-195a-4c77-9339-a13732cd096f" providerId="ADAL" clId="{3625CD61-9FE5-4276-9799-D1F011D1F900}" dt="2021-06-14T12:31:59.768" v="12" actId="478"/>
          <ac:spMkLst>
            <pc:docMk/>
            <pc:sldMk cId="1759216574" sldId="20974"/>
            <ac:spMk id="33" creationId="{00000000-0000-0000-0000-000000000000}"/>
          </ac:spMkLst>
        </pc:spChg>
        <pc:spChg chg="add mod">
          <ac:chgData name="Prolay Ghosh" userId="b7af4a88-195a-4c77-9339-a13732cd096f" providerId="ADAL" clId="{3625CD61-9FE5-4276-9799-D1F011D1F900}" dt="2021-06-15T08:20:10.772" v="315" actId="1076"/>
          <ac:spMkLst>
            <pc:docMk/>
            <pc:sldMk cId="1759216574" sldId="20974"/>
            <ac:spMk id="33" creationId="{09B1DFB9-95E9-49A8-856A-DFC3187FB454}"/>
          </ac:spMkLst>
        </pc:spChg>
        <pc:spChg chg="del">
          <ac:chgData name="Prolay Ghosh" userId="b7af4a88-195a-4c77-9339-a13732cd096f" providerId="ADAL" clId="{3625CD61-9FE5-4276-9799-D1F011D1F900}" dt="2021-06-14T12:31:59.768" v="12" actId="478"/>
          <ac:spMkLst>
            <pc:docMk/>
            <pc:sldMk cId="1759216574" sldId="20974"/>
            <ac:spMk id="34" creationId="{00000000-0000-0000-0000-000000000000}"/>
          </ac:spMkLst>
        </pc:spChg>
        <pc:spChg chg="add mod">
          <ac:chgData name="Prolay Ghosh" userId="b7af4a88-195a-4c77-9339-a13732cd096f" providerId="ADAL" clId="{3625CD61-9FE5-4276-9799-D1F011D1F900}" dt="2021-06-15T08:20:10.772" v="315" actId="1076"/>
          <ac:spMkLst>
            <pc:docMk/>
            <pc:sldMk cId="1759216574" sldId="20974"/>
            <ac:spMk id="34" creationId="{245B8EA4-DCFD-41A0-9543-B18E1D3F6FED}"/>
          </ac:spMkLst>
        </pc:spChg>
        <pc:spChg chg="del">
          <ac:chgData name="Prolay Ghosh" userId="b7af4a88-195a-4c77-9339-a13732cd096f" providerId="ADAL" clId="{3625CD61-9FE5-4276-9799-D1F011D1F900}" dt="2021-06-14T12:31:59.768" v="12" actId="478"/>
          <ac:spMkLst>
            <pc:docMk/>
            <pc:sldMk cId="1759216574" sldId="20974"/>
            <ac:spMk id="35" creationId="{00000000-0000-0000-0000-000000000000}"/>
          </ac:spMkLst>
        </pc:spChg>
        <pc:spChg chg="add mod">
          <ac:chgData name="Prolay Ghosh" userId="b7af4a88-195a-4c77-9339-a13732cd096f" providerId="ADAL" clId="{3625CD61-9FE5-4276-9799-D1F011D1F900}" dt="2021-06-15T08:20:47.082" v="319" actId="1076"/>
          <ac:spMkLst>
            <pc:docMk/>
            <pc:sldMk cId="1759216574" sldId="20974"/>
            <ac:spMk id="35" creationId="{B7D7C49F-59C0-4FF1-830F-34439BED4E4A}"/>
          </ac:spMkLst>
        </pc:spChg>
        <pc:spChg chg="del">
          <ac:chgData name="Prolay Ghosh" userId="b7af4a88-195a-4c77-9339-a13732cd096f" providerId="ADAL" clId="{3625CD61-9FE5-4276-9799-D1F011D1F900}" dt="2021-06-14T12:31:59.768" v="12" actId="478"/>
          <ac:spMkLst>
            <pc:docMk/>
            <pc:sldMk cId="1759216574" sldId="20974"/>
            <ac:spMk id="36" creationId="{00000000-0000-0000-0000-000000000000}"/>
          </ac:spMkLst>
        </pc:spChg>
        <pc:spChg chg="add mod">
          <ac:chgData name="Prolay Ghosh" userId="b7af4a88-195a-4c77-9339-a13732cd096f" providerId="ADAL" clId="{3625CD61-9FE5-4276-9799-D1F011D1F900}" dt="2021-06-15T08:20:47.082" v="319" actId="1076"/>
          <ac:spMkLst>
            <pc:docMk/>
            <pc:sldMk cId="1759216574" sldId="20974"/>
            <ac:spMk id="36" creationId="{51DB22D5-FC8A-414F-89E7-E0A34C3163E2}"/>
          </ac:spMkLst>
        </pc:spChg>
        <pc:spChg chg="del">
          <ac:chgData name="Prolay Ghosh" userId="b7af4a88-195a-4c77-9339-a13732cd096f" providerId="ADAL" clId="{3625CD61-9FE5-4276-9799-D1F011D1F900}" dt="2021-06-14T12:31:59.768" v="12" actId="478"/>
          <ac:spMkLst>
            <pc:docMk/>
            <pc:sldMk cId="1759216574" sldId="20974"/>
            <ac:spMk id="37" creationId="{00000000-0000-0000-0000-000000000000}"/>
          </ac:spMkLst>
        </pc:spChg>
        <pc:spChg chg="add mod">
          <ac:chgData name="Prolay Ghosh" userId="b7af4a88-195a-4c77-9339-a13732cd096f" providerId="ADAL" clId="{3625CD61-9FE5-4276-9799-D1F011D1F900}" dt="2021-06-15T08:20:47.082" v="319" actId="1076"/>
          <ac:spMkLst>
            <pc:docMk/>
            <pc:sldMk cId="1759216574" sldId="20974"/>
            <ac:spMk id="37" creationId="{63054F39-355A-44DC-995D-E0E470955EEF}"/>
          </ac:spMkLst>
        </pc:spChg>
        <pc:spChg chg="del">
          <ac:chgData name="Prolay Ghosh" userId="b7af4a88-195a-4c77-9339-a13732cd096f" providerId="ADAL" clId="{3625CD61-9FE5-4276-9799-D1F011D1F900}" dt="2021-06-14T12:31:59.768" v="12" actId="478"/>
          <ac:spMkLst>
            <pc:docMk/>
            <pc:sldMk cId="1759216574" sldId="20974"/>
            <ac:spMk id="38" creationId="{00000000-0000-0000-0000-000000000000}"/>
          </ac:spMkLst>
        </pc:spChg>
        <pc:spChg chg="add mod">
          <ac:chgData name="Prolay Ghosh" userId="b7af4a88-195a-4c77-9339-a13732cd096f" providerId="ADAL" clId="{3625CD61-9FE5-4276-9799-D1F011D1F900}" dt="2021-06-15T08:20:54.044" v="321" actId="1076"/>
          <ac:spMkLst>
            <pc:docMk/>
            <pc:sldMk cId="1759216574" sldId="20974"/>
            <ac:spMk id="38" creationId="{4D49C31D-2469-4758-AF1C-9151B9AB6A3A}"/>
          </ac:spMkLst>
        </pc:spChg>
        <pc:spChg chg="add mod">
          <ac:chgData name="Prolay Ghosh" userId="b7af4a88-195a-4c77-9339-a13732cd096f" providerId="ADAL" clId="{3625CD61-9FE5-4276-9799-D1F011D1F900}" dt="2021-06-15T08:20:54.044" v="321" actId="1076"/>
          <ac:spMkLst>
            <pc:docMk/>
            <pc:sldMk cId="1759216574" sldId="20974"/>
            <ac:spMk id="39" creationId="{E8B91B28-0829-47AF-9466-F9570544B913}"/>
          </ac:spMkLst>
        </pc:spChg>
        <pc:spChg chg="del">
          <ac:chgData name="Prolay Ghosh" userId="b7af4a88-195a-4c77-9339-a13732cd096f" providerId="ADAL" clId="{3625CD61-9FE5-4276-9799-D1F011D1F900}" dt="2021-06-14T12:31:59.768" v="12" actId="478"/>
          <ac:spMkLst>
            <pc:docMk/>
            <pc:sldMk cId="1759216574" sldId="20974"/>
            <ac:spMk id="40" creationId="{00000000-0000-0000-0000-000000000000}"/>
          </ac:spMkLst>
        </pc:spChg>
        <pc:spChg chg="add mod">
          <ac:chgData name="Prolay Ghosh" userId="b7af4a88-195a-4c77-9339-a13732cd096f" providerId="ADAL" clId="{3625CD61-9FE5-4276-9799-D1F011D1F900}" dt="2021-06-15T08:20:54.044" v="321" actId="1076"/>
          <ac:spMkLst>
            <pc:docMk/>
            <pc:sldMk cId="1759216574" sldId="20974"/>
            <ac:spMk id="40" creationId="{B2F2AF29-0A9C-40F4-A27A-A60B6F01953A}"/>
          </ac:spMkLst>
        </pc:spChg>
        <pc:spChg chg="del">
          <ac:chgData name="Prolay Ghosh" userId="b7af4a88-195a-4c77-9339-a13732cd096f" providerId="ADAL" clId="{3625CD61-9FE5-4276-9799-D1F011D1F900}" dt="2021-06-14T12:31:59.768" v="12" actId="478"/>
          <ac:spMkLst>
            <pc:docMk/>
            <pc:sldMk cId="1759216574" sldId="20974"/>
            <ac:spMk id="41" creationId="{00000000-0000-0000-0000-000000000000}"/>
          </ac:spMkLst>
        </pc:spChg>
        <pc:spChg chg="del">
          <ac:chgData name="Prolay Ghosh" userId="b7af4a88-195a-4c77-9339-a13732cd096f" providerId="ADAL" clId="{3625CD61-9FE5-4276-9799-D1F011D1F900}" dt="2021-06-14T12:31:59.768" v="12" actId="478"/>
          <ac:spMkLst>
            <pc:docMk/>
            <pc:sldMk cId="1759216574" sldId="20974"/>
            <ac:spMk id="42" creationId="{00000000-0000-0000-0000-000000000000}"/>
          </ac:spMkLst>
        </pc:spChg>
        <pc:spChg chg="del">
          <ac:chgData name="Prolay Ghosh" userId="b7af4a88-195a-4c77-9339-a13732cd096f" providerId="ADAL" clId="{3625CD61-9FE5-4276-9799-D1F011D1F900}" dt="2021-06-14T12:31:59.768" v="12" actId="478"/>
          <ac:spMkLst>
            <pc:docMk/>
            <pc:sldMk cId="1759216574" sldId="20974"/>
            <ac:spMk id="44" creationId="{00000000-0000-0000-0000-000000000000}"/>
          </ac:spMkLst>
        </pc:spChg>
        <pc:spChg chg="del">
          <ac:chgData name="Prolay Ghosh" userId="b7af4a88-195a-4c77-9339-a13732cd096f" providerId="ADAL" clId="{3625CD61-9FE5-4276-9799-D1F011D1F900}" dt="2021-06-14T12:31:59.768" v="12" actId="478"/>
          <ac:spMkLst>
            <pc:docMk/>
            <pc:sldMk cId="1759216574" sldId="20974"/>
            <ac:spMk id="45" creationId="{00000000-0000-0000-0000-000000000000}"/>
          </ac:spMkLst>
        </pc:spChg>
        <pc:spChg chg="del">
          <ac:chgData name="Prolay Ghosh" userId="b7af4a88-195a-4c77-9339-a13732cd096f" providerId="ADAL" clId="{3625CD61-9FE5-4276-9799-D1F011D1F900}" dt="2021-06-14T12:31:59.768" v="12" actId="478"/>
          <ac:spMkLst>
            <pc:docMk/>
            <pc:sldMk cId="1759216574" sldId="20974"/>
            <ac:spMk id="46" creationId="{00000000-0000-0000-0000-000000000000}"/>
          </ac:spMkLst>
        </pc:spChg>
        <pc:spChg chg="del">
          <ac:chgData name="Prolay Ghosh" userId="b7af4a88-195a-4c77-9339-a13732cd096f" providerId="ADAL" clId="{3625CD61-9FE5-4276-9799-D1F011D1F900}" dt="2021-06-14T12:31:59.768" v="12" actId="478"/>
          <ac:spMkLst>
            <pc:docMk/>
            <pc:sldMk cId="1759216574" sldId="20974"/>
            <ac:spMk id="47" creationId="{00000000-0000-0000-0000-000000000000}"/>
          </ac:spMkLst>
        </pc:spChg>
        <pc:spChg chg="del">
          <ac:chgData name="Prolay Ghosh" userId="b7af4a88-195a-4c77-9339-a13732cd096f" providerId="ADAL" clId="{3625CD61-9FE5-4276-9799-D1F011D1F900}" dt="2021-06-14T12:31:59.768" v="12" actId="478"/>
          <ac:spMkLst>
            <pc:docMk/>
            <pc:sldMk cId="1759216574" sldId="20974"/>
            <ac:spMk id="48" creationId="{00000000-0000-0000-0000-000000000000}"/>
          </ac:spMkLst>
        </pc:spChg>
        <pc:spChg chg="del">
          <ac:chgData name="Prolay Ghosh" userId="b7af4a88-195a-4c77-9339-a13732cd096f" providerId="ADAL" clId="{3625CD61-9FE5-4276-9799-D1F011D1F900}" dt="2021-06-14T12:31:59.768" v="12" actId="478"/>
          <ac:spMkLst>
            <pc:docMk/>
            <pc:sldMk cId="1759216574" sldId="20974"/>
            <ac:spMk id="49" creationId="{00000000-0000-0000-0000-000000000000}"/>
          </ac:spMkLst>
        </pc:spChg>
        <pc:spChg chg="del">
          <ac:chgData name="Prolay Ghosh" userId="b7af4a88-195a-4c77-9339-a13732cd096f" providerId="ADAL" clId="{3625CD61-9FE5-4276-9799-D1F011D1F900}" dt="2021-06-14T12:31:59.768" v="12" actId="478"/>
          <ac:spMkLst>
            <pc:docMk/>
            <pc:sldMk cId="1759216574" sldId="20974"/>
            <ac:spMk id="50" creationId="{00000000-0000-0000-0000-000000000000}"/>
          </ac:spMkLst>
        </pc:spChg>
        <pc:spChg chg="del">
          <ac:chgData name="Prolay Ghosh" userId="b7af4a88-195a-4c77-9339-a13732cd096f" providerId="ADAL" clId="{3625CD61-9FE5-4276-9799-D1F011D1F900}" dt="2021-06-14T12:31:59.768" v="12" actId="478"/>
          <ac:spMkLst>
            <pc:docMk/>
            <pc:sldMk cId="1759216574" sldId="20974"/>
            <ac:spMk id="51" creationId="{00000000-0000-0000-0000-000000000000}"/>
          </ac:spMkLst>
        </pc:spChg>
        <pc:spChg chg="del">
          <ac:chgData name="Prolay Ghosh" userId="b7af4a88-195a-4c77-9339-a13732cd096f" providerId="ADAL" clId="{3625CD61-9FE5-4276-9799-D1F011D1F900}" dt="2021-06-14T12:31:59.768" v="12" actId="478"/>
          <ac:spMkLst>
            <pc:docMk/>
            <pc:sldMk cId="1759216574" sldId="20974"/>
            <ac:spMk id="52" creationId="{00000000-0000-0000-0000-000000000000}"/>
          </ac:spMkLst>
        </pc:spChg>
        <pc:spChg chg="del">
          <ac:chgData name="Prolay Ghosh" userId="b7af4a88-195a-4c77-9339-a13732cd096f" providerId="ADAL" clId="{3625CD61-9FE5-4276-9799-D1F011D1F900}" dt="2021-06-14T12:31:59.768" v="12" actId="478"/>
          <ac:spMkLst>
            <pc:docMk/>
            <pc:sldMk cId="1759216574" sldId="20974"/>
            <ac:spMk id="53" creationId="{00000000-0000-0000-0000-000000000000}"/>
          </ac:spMkLst>
        </pc:spChg>
        <pc:spChg chg="del">
          <ac:chgData name="Prolay Ghosh" userId="b7af4a88-195a-4c77-9339-a13732cd096f" providerId="ADAL" clId="{3625CD61-9FE5-4276-9799-D1F011D1F900}" dt="2021-06-14T12:31:59.768" v="12" actId="478"/>
          <ac:spMkLst>
            <pc:docMk/>
            <pc:sldMk cId="1759216574" sldId="20974"/>
            <ac:spMk id="54" creationId="{00000000-0000-0000-0000-000000000000}"/>
          </ac:spMkLst>
        </pc:spChg>
        <pc:spChg chg="del">
          <ac:chgData name="Prolay Ghosh" userId="b7af4a88-195a-4c77-9339-a13732cd096f" providerId="ADAL" clId="{3625CD61-9FE5-4276-9799-D1F011D1F900}" dt="2021-06-14T12:31:59.768" v="12" actId="478"/>
          <ac:spMkLst>
            <pc:docMk/>
            <pc:sldMk cId="1759216574" sldId="20974"/>
            <ac:spMk id="55" creationId="{00000000-0000-0000-0000-000000000000}"/>
          </ac:spMkLst>
        </pc:spChg>
        <pc:spChg chg="del">
          <ac:chgData name="Prolay Ghosh" userId="b7af4a88-195a-4c77-9339-a13732cd096f" providerId="ADAL" clId="{3625CD61-9FE5-4276-9799-D1F011D1F900}" dt="2021-06-14T12:31:59.768" v="12" actId="478"/>
          <ac:spMkLst>
            <pc:docMk/>
            <pc:sldMk cId="1759216574" sldId="20974"/>
            <ac:spMk id="56" creationId="{00000000-0000-0000-0000-000000000000}"/>
          </ac:spMkLst>
        </pc:spChg>
        <pc:spChg chg="del">
          <ac:chgData name="Prolay Ghosh" userId="b7af4a88-195a-4c77-9339-a13732cd096f" providerId="ADAL" clId="{3625CD61-9FE5-4276-9799-D1F011D1F900}" dt="2021-06-14T12:31:59.768" v="12" actId="478"/>
          <ac:spMkLst>
            <pc:docMk/>
            <pc:sldMk cId="1759216574" sldId="20974"/>
            <ac:spMk id="57" creationId="{00000000-0000-0000-0000-000000000000}"/>
          </ac:spMkLst>
        </pc:spChg>
        <pc:spChg chg="del">
          <ac:chgData name="Prolay Ghosh" userId="b7af4a88-195a-4c77-9339-a13732cd096f" providerId="ADAL" clId="{3625CD61-9FE5-4276-9799-D1F011D1F900}" dt="2021-06-14T12:31:59.768" v="12" actId="478"/>
          <ac:spMkLst>
            <pc:docMk/>
            <pc:sldMk cId="1759216574" sldId="20974"/>
            <ac:spMk id="58" creationId="{00000000-0000-0000-0000-000000000000}"/>
          </ac:spMkLst>
        </pc:spChg>
        <pc:spChg chg="del">
          <ac:chgData name="Prolay Ghosh" userId="b7af4a88-195a-4c77-9339-a13732cd096f" providerId="ADAL" clId="{3625CD61-9FE5-4276-9799-D1F011D1F900}" dt="2021-06-14T12:31:59.768" v="12" actId="478"/>
          <ac:spMkLst>
            <pc:docMk/>
            <pc:sldMk cId="1759216574" sldId="20974"/>
            <ac:spMk id="59" creationId="{00000000-0000-0000-0000-000000000000}"/>
          </ac:spMkLst>
        </pc:spChg>
        <pc:spChg chg="del">
          <ac:chgData name="Prolay Ghosh" userId="b7af4a88-195a-4c77-9339-a13732cd096f" providerId="ADAL" clId="{3625CD61-9FE5-4276-9799-D1F011D1F900}" dt="2021-06-14T12:31:59.768" v="12" actId="478"/>
          <ac:spMkLst>
            <pc:docMk/>
            <pc:sldMk cId="1759216574" sldId="20974"/>
            <ac:spMk id="60" creationId="{00000000-0000-0000-0000-000000000000}"/>
          </ac:spMkLst>
        </pc:spChg>
        <pc:spChg chg="del">
          <ac:chgData name="Prolay Ghosh" userId="b7af4a88-195a-4c77-9339-a13732cd096f" providerId="ADAL" clId="{3625CD61-9FE5-4276-9799-D1F011D1F900}" dt="2021-06-14T12:31:59.768" v="12" actId="478"/>
          <ac:spMkLst>
            <pc:docMk/>
            <pc:sldMk cId="1759216574" sldId="20974"/>
            <ac:spMk id="61" creationId="{00000000-0000-0000-0000-000000000000}"/>
          </ac:spMkLst>
        </pc:spChg>
        <pc:spChg chg="del">
          <ac:chgData name="Prolay Ghosh" userId="b7af4a88-195a-4c77-9339-a13732cd096f" providerId="ADAL" clId="{3625CD61-9FE5-4276-9799-D1F011D1F900}" dt="2021-06-14T12:31:59.768" v="12" actId="478"/>
          <ac:spMkLst>
            <pc:docMk/>
            <pc:sldMk cId="1759216574" sldId="20974"/>
            <ac:spMk id="62" creationId="{00000000-0000-0000-0000-000000000000}"/>
          </ac:spMkLst>
        </pc:spChg>
        <pc:spChg chg="del">
          <ac:chgData name="Prolay Ghosh" userId="b7af4a88-195a-4c77-9339-a13732cd096f" providerId="ADAL" clId="{3625CD61-9FE5-4276-9799-D1F011D1F900}" dt="2021-06-14T12:31:59.768" v="12" actId="478"/>
          <ac:spMkLst>
            <pc:docMk/>
            <pc:sldMk cId="1759216574" sldId="20974"/>
            <ac:spMk id="63" creationId="{00000000-0000-0000-0000-000000000000}"/>
          </ac:spMkLst>
        </pc:spChg>
        <pc:spChg chg="del">
          <ac:chgData name="Prolay Ghosh" userId="b7af4a88-195a-4c77-9339-a13732cd096f" providerId="ADAL" clId="{3625CD61-9FE5-4276-9799-D1F011D1F900}" dt="2021-06-14T12:31:59.768" v="12" actId="478"/>
          <ac:spMkLst>
            <pc:docMk/>
            <pc:sldMk cId="1759216574" sldId="20974"/>
            <ac:spMk id="64" creationId="{00000000-0000-0000-0000-000000000000}"/>
          </ac:spMkLst>
        </pc:spChg>
        <pc:spChg chg="del">
          <ac:chgData name="Prolay Ghosh" userId="b7af4a88-195a-4c77-9339-a13732cd096f" providerId="ADAL" clId="{3625CD61-9FE5-4276-9799-D1F011D1F900}" dt="2021-06-14T12:31:59.768" v="12" actId="478"/>
          <ac:spMkLst>
            <pc:docMk/>
            <pc:sldMk cId="1759216574" sldId="20974"/>
            <ac:spMk id="65" creationId="{00000000-0000-0000-0000-000000000000}"/>
          </ac:spMkLst>
        </pc:spChg>
        <pc:spChg chg="del">
          <ac:chgData name="Prolay Ghosh" userId="b7af4a88-195a-4c77-9339-a13732cd096f" providerId="ADAL" clId="{3625CD61-9FE5-4276-9799-D1F011D1F900}" dt="2021-06-14T12:31:59.768" v="12" actId="478"/>
          <ac:spMkLst>
            <pc:docMk/>
            <pc:sldMk cId="1759216574" sldId="20974"/>
            <ac:spMk id="66" creationId="{00000000-0000-0000-0000-000000000000}"/>
          </ac:spMkLst>
        </pc:spChg>
        <pc:spChg chg="del">
          <ac:chgData name="Prolay Ghosh" userId="b7af4a88-195a-4c77-9339-a13732cd096f" providerId="ADAL" clId="{3625CD61-9FE5-4276-9799-D1F011D1F900}" dt="2021-06-14T12:31:59.768" v="12" actId="478"/>
          <ac:spMkLst>
            <pc:docMk/>
            <pc:sldMk cId="1759216574" sldId="20974"/>
            <ac:spMk id="67" creationId="{00000000-0000-0000-0000-000000000000}"/>
          </ac:spMkLst>
        </pc:spChg>
        <pc:spChg chg="del">
          <ac:chgData name="Prolay Ghosh" userId="b7af4a88-195a-4c77-9339-a13732cd096f" providerId="ADAL" clId="{3625CD61-9FE5-4276-9799-D1F011D1F900}" dt="2021-06-14T12:31:59.768" v="12" actId="478"/>
          <ac:spMkLst>
            <pc:docMk/>
            <pc:sldMk cId="1759216574" sldId="20974"/>
            <ac:spMk id="68" creationId="{00000000-0000-0000-0000-000000000000}"/>
          </ac:spMkLst>
        </pc:spChg>
        <pc:spChg chg="del">
          <ac:chgData name="Prolay Ghosh" userId="b7af4a88-195a-4c77-9339-a13732cd096f" providerId="ADAL" clId="{3625CD61-9FE5-4276-9799-D1F011D1F900}" dt="2021-06-14T12:31:59.768" v="12" actId="478"/>
          <ac:spMkLst>
            <pc:docMk/>
            <pc:sldMk cId="1759216574" sldId="20974"/>
            <ac:spMk id="69" creationId="{00000000-0000-0000-0000-000000000000}"/>
          </ac:spMkLst>
        </pc:spChg>
        <pc:spChg chg="del">
          <ac:chgData name="Prolay Ghosh" userId="b7af4a88-195a-4c77-9339-a13732cd096f" providerId="ADAL" clId="{3625CD61-9FE5-4276-9799-D1F011D1F900}" dt="2021-06-14T12:31:59.768" v="12" actId="478"/>
          <ac:spMkLst>
            <pc:docMk/>
            <pc:sldMk cId="1759216574" sldId="20974"/>
            <ac:spMk id="70" creationId="{00000000-0000-0000-0000-000000000000}"/>
          </ac:spMkLst>
        </pc:spChg>
        <pc:spChg chg="del">
          <ac:chgData name="Prolay Ghosh" userId="b7af4a88-195a-4c77-9339-a13732cd096f" providerId="ADAL" clId="{3625CD61-9FE5-4276-9799-D1F011D1F900}" dt="2021-06-14T12:31:59.768" v="12" actId="478"/>
          <ac:spMkLst>
            <pc:docMk/>
            <pc:sldMk cId="1759216574" sldId="20974"/>
            <ac:spMk id="71" creationId="{00000000-0000-0000-0000-000000000000}"/>
          </ac:spMkLst>
        </pc:spChg>
        <pc:spChg chg="del">
          <ac:chgData name="Prolay Ghosh" userId="b7af4a88-195a-4c77-9339-a13732cd096f" providerId="ADAL" clId="{3625CD61-9FE5-4276-9799-D1F011D1F900}" dt="2021-06-14T12:31:59.768" v="12" actId="478"/>
          <ac:spMkLst>
            <pc:docMk/>
            <pc:sldMk cId="1759216574" sldId="20974"/>
            <ac:spMk id="72" creationId="{00000000-0000-0000-0000-000000000000}"/>
          </ac:spMkLst>
        </pc:spChg>
        <pc:spChg chg="del">
          <ac:chgData name="Prolay Ghosh" userId="b7af4a88-195a-4c77-9339-a13732cd096f" providerId="ADAL" clId="{3625CD61-9FE5-4276-9799-D1F011D1F900}" dt="2021-06-14T12:31:59.768" v="12" actId="478"/>
          <ac:spMkLst>
            <pc:docMk/>
            <pc:sldMk cId="1759216574" sldId="20974"/>
            <ac:spMk id="73" creationId="{00000000-0000-0000-0000-000000000000}"/>
          </ac:spMkLst>
        </pc:spChg>
        <pc:spChg chg="del">
          <ac:chgData name="Prolay Ghosh" userId="b7af4a88-195a-4c77-9339-a13732cd096f" providerId="ADAL" clId="{3625CD61-9FE5-4276-9799-D1F011D1F900}" dt="2021-06-14T12:31:59.768" v="12" actId="478"/>
          <ac:spMkLst>
            <pc:docMk/>
            <pc:sldMk cId="1759216574" sldId="20974"/>
            <ac:spMk id="74" creationId="{00000000-0000-0000-0000-000000000000}"/>
          </ac:spMkLst>
        </pc:spChg>
        <pc:spChg chg="del">
          <ac:chgData name="Prolay Ghosh" userId="b7af4a88-195a-4c77-9339-a13732cd096f" providerId="ADAL" clId="{3625CD61-9FE5-4276-9799-D1F011D1F900}" dt="2021-06-14T12:31:59.768" v="12" actId="478"/>
          <ac:spMkLst>
            <pc:docMk/>
            <pc:sldMk cId="1759216574" sldId="20974"/>
            <ac:spMk id="75" creationId="{00000000-0000-0000-0000-000000000000}"/>
          </ac:spMkLst>
        </pc:spChg>
        <pc:spChg chg="del">
          <ac:chgData name="Prolay Ghosh" userId="b7af4a88-195a-4c77-9339-a13732cd096f" providerId="ADAL" clId="{3625CD61-9FE5-4276-9799-D1F011D1F900}" dt="2021-06-14T12:31:59.768" v="12" actId="478"/>
          <ac:spMkLst>
            <pc:docMk/>
            <pc:sldMk cId="1759216574" sldId="20974"/>
            <ac:spMk id="76" creationId="{00000000-0000-0000-0000-000000000000}"/>
          </ac:spMkLst>
        </pc:spChg>
        <pc:spChg chg="add mod">
          <ac:chgData name="Prolay Ghosh" userId="b7af4a88-195a-4c77-9339-a13732cd096f" providerId="ADAL" clId="{3625CD61-9FE5-4276-9799-D1F011D1F900}" dt="2021-06-14T13:20:35.271" v="237" actId="465"/>
          <ac:spMkLst>
            <pc:docMk/>
            <pc:sldMk cId="1759216574" sldId="20974"/>
            <ac:spMk id="77" creationId="{EA5FB1C4-19A0-4365-9A22-BD41F3A25368}"/>
          </ac:spMkLst>
        </pc:spChg>
        <pc:spChg chg="add mod">
          <ac:chgData name="Prolay Ghosh" userId="b7af4a88-195a-4c77-9339-a13732cd096f" providerId="ADAL" clId="{3625CD61-9FE5-4276-9799-D1F011D1F900}" dt="2021-06-14T13:40:27.279" v="291" actId="1076"/>
          <ac:spMkLst>
            <pc:docMk/>
            <pc:sldMk cId="1759216574" sldId="20974"/>
            <ac:spMk id="78" creationId="{2C3E4FF7-15D6-4B00-B0EE-984ADDD04CCA}"/>
          </ac:spMkLst>
        </pc:spChg>
        <pc:spChg chg="add mod">
          <ac:chgData name="Prolay Ghosh" userId="b7af4a88-195a-4c77-9339-a13732cd096f" providerId="ADAL" clId="{3625CD61-9FE5-4276-9799-D1F011D1F900}" dt="2021-06-14T13:21:03.062" v="239" actId="1076"/>
          <ac:spMkLst>
            <pc:docMk/>
            <pc:sldMk cId="1759216574" sldId="20974"/>
            <ac:spMk id="79" creationId="{B258399B-20D0-4A10-911D-1AD82923ED4C}"/>
          </ac:spMkLst>
        </pc:spChg>
        <pc:spChg chg="add mod">
          <ac:chgData name="Prolay Ghosh" userId="b7af4a88-195a-4c77-9339-a13732cd096f" providerId="ADAL" clId="{3625CD61-9FE5-4276-9799-D1F011D1F900}" dt="2021-06-14T13:20:35.271" v="237" actId="465"/>
          <ac:spMkLst>
            <pc:docMk/>
            <pc:sldMk cId="1759216574" sldId="20974"/>
            <ac:spMk id="80" creationId="{60D45866-598E-417B-B0BA-999F72C19FBA}"/>
          </ac:spMkLst>
        </pc:spChg>
        <pc:spChg chg="add mod">
          <ac:chgData name="Prolay Ghosh" userId="b7af4a88-195a-4c77-9339-a13732cd096f" providerId="ADAL" clId="{3625CD61-9FE5-4276-9799-D1F011D1F900}" dt="2021-06-14T13:16:02.594" v="197" actId="1076"/>
          <ac:spMkLst>
            <pc:docMk/>
            <pc:sldMk cId="1759216574" sldId="20974"/>
            <ac:spMk id="81" creationId="{1E020068-4611-4A36-9521-1BFB89256F49}"/>
          </ac:spMkLst>
        </pc:spChg>
        <pc:spChg chg="del">
          <ac:chgData name="Prolay Ghosh" userId="b7af4a88-195a-4c77-9339-a13732cd096f" providerId="ADAL" clId="{3625CD61-9FE5-4276-9799-D1F011D1F900}" dt="2021-06-14T12:31:59.768" v="12" actId="478"/>
          <ac:spMkLst>
            <pc:docMk/>
            <pc:sldMk cId="1759216574" sldId="20974"/>
            <ac:spMk id="83" creationId="{00000000-0000-0000-0000-000000000000}"/>
          </ac:spMkLst>
        </pc:spChg>
        <pc:spChg chg="add mod">
          <ac:chgData name="Prolay Ghosh" userId="b7af4a88-195a-4c77-9339-a13732cd096f" providerId="ADAL" clId="{3625CD61-9FE5-4276-9799-D1F011D1F900}" dt="2021-06-14T13:40:27.279" v="291" actId="1076"/>
          <ac:spMkLst>
            <pc:docMk/>
            <pc:sldMk cId="1759216574" sldId="20974"/>
            <ac:spMk id="84" creationId="{0E249086-05E2-40BC-B9D0-BC1E3FF76E24}"/>
          </ac:spMkLst>
        </pc:spChg>
        <pc:spChg chg="add mod">
          <ac:chgData name="Prolay Ghosh" userId="b7af4a88-195a-4c77-9339-a13732cd096f" providerId="ADAL" clId="{3625CD61-9FE5-4276-9799-D1F011D1F900}" dt="2021-06-14T13:16:02.594" v="197" actId="1076"/>
          <ac:spMkLst>
            <pc:docMk/>
            <pc:sldMk cId="1759216574" sldId="20974"/>
            <ac:spMk id="86" creationId="{C5A0C96E-D1A8-4F60-AF4D-2617BFE0D1C8}"/>
          </ac:spMkLst>
        </pc:spChg>
        <pc:spChg chg="del">
          <ac:chgData name="Prolay Ghosh" userId="b7af4a88-195a-4c77-9339-a13732cd096f" providerId="ADAL" clId="{3625CD61-9FE5-4276-9799-D1F011D1F900}" dt="2021-06-14T12:31:59.768" v="12" actId="478"/>
          <ac:spMkLst>
            <pc:docMk/>
            <pc:sldMk cId="1759216574" sldId="20974"/>
            <ac:spMk id="87" creationId="{00000000-0000-0000-0000-000000000000}"/>
          </ac:spMkLst>
        </pc:spChg>
        <pc:spChg chg="del">
          <ac:chgData name="Prolay Ghosh" userId="b7af4a88-195a-4c77-9339-a13732cd096f" providerId="ADAL" clId="{3625CD61-9FE5-4276-9799-D1F011D1F900}" dt="2021-06-14T12:31:59.768" v="12" actId="478"/>
          <ac:spMkLst>
            <pc:docMk/>
            <pc:sldMk cId="1759216574" sldId="20974"/>
            <ac:spMk id="89" creationId="{00000000-0000-0000-0000-000000000000}"/>
          </ac:spMkLst>
        </pc:spChg>
        <pc:spChg chg="del">
          <ac:chgData name="Prolay Ghosh" userId="b7af4a88-195a-4c77-9339-a13732cd096f" providerId="ADAL" clId="{3625CD61-9FE5-4276-9799-D1F011D1F900}" dt="2021-06-14T12:31:59.768" v="12" actId="478"/>
          <ac:spMkLst>
            <pc:docMk/>
            <pc:sldMk cId="1759216574" sldId="20974"/>
            <ac:spMk id="90" creationId="{00000000-0000-0000-0000-000000000000}"/>
          </ac:spMkLst>
        </pc:spChg>
        <pc:spChg chg="del">
          <ac:chgData name="Prolay Ghosh" userId="b7af4a88-195a-4c77-9339-a13732cd096f" providerId="ADAL" clId="{3625CD61-9FE5-4276-9799-D1F011D1F900}" dt="2021-06-14T12:31:59.768" v="12" actId="478"/>
          <ac:spMkLst>
            <pc:docMk/>
            <pc:sldMk cId="1759216574" sldId="20974"/>
            <ac:spMk id="91" creationId="{00000000-0000-0000-0000-000000000000}"/>
          </ac:spMkLst>
        </pc:spChg>
        <pc:spChg chg="add mod">
          <ac:chgData name="Prolay Ghosh" userId="b7af4a88-195a-4c77-9339-a13732cd096f" providerId="ADAL" clId="{3625CD61-9FE5-4276-9799-D1F011D1F900}" dt="2021-06-14T13:40:51.476" v="292" actId="1076"/>
          <ac:spMkLst>
            <pc:docMk/>
            <pc:sldMk cId="1759216574" sldId="20974"/>
            <ac:spMk id="92" creationId="{2140E306-59A2-4401-8FAD-9E11113B5F66}"/>
          </ac:spMkLst>
        </pc:spChg>
        <pc:spChg chg="add mod">
          <ac:chgData name="Prolay Ghosh" userId="b7af4a88-195a-4c77-9339-a13732cd096f" providerId="ADAL" clId="{3625CD61-9FE5-4276-9799-D1F011D1F900}" dt="2021-06-14T13:21:07.965" v="240" actId="1076"/>
          <ac:spMkLst>
            <pc:docMk/>
            <pc:sldMk cId="1759216574" sldId="20974"/>
            <ac:spMk id="94" creationId="{784F2143-ACEC-4657-9E68-25298A1FF033}"/>
          </ac:spMkLst>
        </pc:spChg>
        <pc:spChg chg="add mod">
          <ac:chgData name="Prolay Ghosh" userId="b7af4a88-195a-4c77-9339-a13732cd096f" providerId="ADAL" clId="{3625CD61-9FE5-4276-9799-D1F011D1F900}" dt="2021-06-14T13:16:02.594" v="197" actId="1076"/>
          <ac:spMkLst>
            <pc:docMk/>
            <pc:sldMk cId="1759216574" sldId="20974"/>
            <ac:spMk id="96" creationId="{6440CA03-7FC7-43E5-BB29-F9968AABE286}"/>
          </ac:spMkLst>
        </pc:spChg>
        <pc:spChg chg="add mod">
          <ac:chgData name="Prolay Ghosh" userId="b7af4a88-195a-4c77-9339-a13732cd096f" providerId="ADAL" clId="{3625CD61-9FE5-4276-9799-D1F011D1F900}" dt="2021-06-15T08:18:33.217" v="306" actId="1076"/>
          <ac:spMkLst>
            <pc:docMk/>
            <pc:sldMk cId="1759216574" sldId="20974"/>
            <ac:spMk id="98" creationId="{21281EBB-B79C-42A5-AF0E-457E773F1CAB}"/>
          </ac:spMkLst>
        </pc:spChg>
        <pc:picChg chg="add mod">
          <ac:chgData name="Prolay Ghosh" userId="b7af4a88-195a-4c77-9339-a13732cd096f" providerId="ADAL" clId="{3625CD61-9FE5-4276-9799-D1F011D1F900}" dt="2021-06-15T08:21:30.730" v="324" actId="14100"/>
          <ac:picMkLst>
            <pc:docMk/>
            <pc:sldMk cId="1759216574" sldId="20974"/>
            <ac:picMk id="4" creationId="{C93554EE-C2D3-49CD-BB74-398E846C8943}"/>
          </ac:picMkLst>
        </pc:picChg>
        <pc:picChg chg="add mod">
          <ac:chgData name="Prolay Ghosh" userId="b7af4a88-195a-4c77-9339-a13732cd096f" providerId="ADAL" clId="{3625CD61-9FE5-4276-9799-D1F011D1F900}" dt="2021-06-14T13:20:35.271" v="237" actId="465"/>
          <ac:picMkLst>
            <pc:docMk/>
            <pc:sldMk cId="1759216574" sldId="20974"/>
            <ac:picMk id="5" creationId="{4857625B-5A96-4CDB-B818-C8599D9731AF}"/>
          </ac:picMkLst>
        </pc:picChg>
        <pc:picChg chg="add mod">
          <ac:chgData name="Prolay Ghosh" userId="b7af4a88-195a-4c77-9339-a13732cd096f" providerId="ADAL" clId="{3625CD61-9FE5-4276-9799-D1F011D1F900}" dt="2021-06-14T13:40:27.279" v="291" actId="1076"/>
          <ac:picMkLst>
            <pc:docMk/>
            <pc:sldMk cId="1759216574" sldId="20974"/>
            <ac:picMk id="6" creationId="{6A95FFDF-CFA1-4AFA-9E77-53C37C5E0B63}"/>
          </ac:picMkLst>
        </pc:picChg>
        <pc:picChg chg="add del">
          <ac:chgData name="Prolay Ghosh" userId="b7af4a88-195a-4c77-9339-a13732cd096f" providerId="ADAL" clId="{3625CD61-9FE5-4276-9799-D1F011D1F900}" dt="2021-06-14T12:42:05.271" v="115" actId="478"/>
          <ac:picMkLst>
            <pc:docMk/>
            <pc:sldMk cId="1759216574" sldId="20974"/>
            <ac:picMk id="7" creationId="{783532FF-E5FE-4A17-94A0-E783F788DDCC}"/>
          </ac:picMkLst>
        </pc:picChg>
        <pc:picChg chg="add mod">
          <ac:chgData name="Prolay Ghosh" userId="b7af4a88-195a-4c77-9339-a13732cd096f" providerId="ADAL" clId="{3625CD61-9FE5-4276-9799-D1F011D1F900}" dt="2021-06-14T13:21:03.062" v="239" actId="1076"/>
          <ac:picMkLst>
            <pc:docMk/>
            <pc:sldMk cId="1759216574" sldId="20974"/>
            <ac:picMk id="8" creationId="{DFC2CDE9-759E-4373-8FE4-BAA90ECC9DF7}"/>
          </ac:picMkLst>
        </pc:picChg>
        <pc:picChg chg="add mod">
          <ac:chgData name="Prolay Ghosh" userId="b7af4a88-195a-4c77-9339-a13732cd096f" providerId="ADAL" clId="{3625CD61-9FE5-4276-9799-D1F011D1F900}" dt="2021-06-14T13:20:33.851" v="236" actId="465"/>
          <ac:picMkLst>
            <pc:docMk/>
            <pc:sldMk cId="1759216574" sldId="20974"/>
            <ac:picMk id="9" creationId="{D3F11ACE-418D-4DB9-84A0-F680C3D47D64}"/>
          </ac:picMkLst>
        </pc:picChg>
        <pc:picChg chg="add mod">
          <ac:chgData name="Prolay Ghosh" userId="b7af4a88-195a-4c77-9339-a13732cd096f" providerId="ADAL" clId="{3625CD61-9FE5-4276-9799-D1F011D1F900}" dt="2021-06-14T13:16:02.594" v="197" actId="1076"/>
          <ac:picMkLst>
            <pc:docMk/>
            <pc:sldMk cId="1759216574" sldId="20974"/>
            <ac:picMk id="10" creationId="{D1B3B0F8-50AF-48A5-B3C2-9CFFF69E19A9}"/>
          </ac:picMkLst>
        </pc:picChg>
        <pc:picChg chg="add mod">
          <ac:chgData name="Prolay Ghosh" userId="b7af4a88-195a-4c77-9339-a13732cd096f" providerId="ADAL" clId="{3625CD61-9FE5-4276-9799-D1F011D1F900}" dt="2021-06-14T13:40:27.279" v="291" actId="1076"/>
          <ac:picMkLst>
            <pc:docMk/>
            <pc:sldMk cId="1759216574" sldId="20974"/>
            <ac:picMk id="11" creationId="{92374A39-AF37-4F9B-BDAB-80CF4A88C2AD}"/>
          </ac:picMkLst>
        </pc:picChg>
        <pc:picChg chg="add mod">
          <ac:chgData name="Prolay Ghosh" userId="b7af4a88-195a-4c77-9339-a13732cd096f" providerId="ADAL" clId="{3625CD61-9FE5-4276-9799-D1F011D1F900}" dt="2021-06-14T13:16:02.594" v="197" actId="1076"/>
          <ac:picMkLst>
            <pc:docMk/>
            <pc:sldMk cId="1759216574" sldId="20974"/>
            <ac:picMk id="12" creationId="{09301735-B887-4272-BED1-AAB812297294}"/>
          </ac:picMkLst>
        </pc:picChg>
        <pc:picChg chg="add mod">
          <ac:chgData name="Prolay Ghosh" userId="b7af4a88-195a-4c77-9339-a13732cd096f" providerId="ADAL" clId="{3625CD61-9FE5-4276-9799-D1F011D1F900}" dt="2021-06-14T13:40:51.476" v="292" actId="1076"/>
          <ac:picMkLst>
            <pc:docMk/>
            <pc:sldMk cId="1759216574" sldId="20974"/>
            <ac:picMk id="13" creationId="{06206A66-9040-449F-A37F-C3BB0C6BA2F3}"/>
          </ac:picMkLst>
        </pc:picChg>
        <pc:picChg chg="add mod">
          <ac:chgData name="Prolay Ghosh" userId="b7af4a88-195a-4c77-9339-a13732cd096f" providerId="ADAL" clId="{3625CD61-9FE5-4276-9799-D1F011D1F900}" dt="2021-06-14T13:21:07.965" v="240" actId="1076"/>
          <ac:picMkLst>
            <pc:docMk/>
            <pc:sldMk cId="1759216574" sldId="20974"/>
            <ac:picMk id="14" creationId="{B851E3E9-B7C3-4E1E-8440-D3ABB4B5543D}"/>
          </ac:picMkLst>
        </pc:picChg>
        <pc:picChg chg="add mod">
          <ac:chgData name="Prolay Ghosh" userId="b7af4a88-195a-4c77-9339-a13732cd096f" providerId="ADAL" clId="{3625CD61-9FE5-4276-9799-D1F011D1F900}" dt="2021-06-14T13:16:02.594" v="197" actId="1076"/>
          <ac:picMkLst>
            <pc:docMk/>
            <pc:sldMk cId="1759216574" sldId="20974"/>
            <ac:picMk id="15" creationId="{C431E7E9-3375-449C-B5A7-0CF0D1B9DAB1}"/>
          </ac:picMkLst>
        </pc:picChg>
        <pc:picChg chg="add mod">
          <ac:chgData name="Prolay Ghosh" userId="b7af4a88-195a-4c77-9339-a13732cd096f" providerId="ADAL" clId="{3625CD61-9FE5-4276-9799-D1F011D1F900}" dt="2021-06-15T08:18:33.217" v="306" actId="1076"/>
          <ac:picMkLst>
            <pc:docMk/>
            <pc:sldMk cId="1759216574" sldId="20974"/>
            <ac:picMk id="16" creationId="{CBE3D178-2A7F-4FD6-91A6-E006FDA53BD0}"/>
          </ac:picMkLst>
        </pc:picChg>
        <pc:picChg chg="del">
          <ac:chgData name="Prolay Ghosh" userId="b7af4a88-195a-4c77-9339-a13732cd096f" providerId="ADAL" clId="{3625CD61-9FE5-4276-9799-D1F011D1F900}" dt="2021-06-14T12:31:59.768" v="12" actId="478"/>
          <ac:picMkLst>
            <pc:docMk/>
            <pc:sldMk cId="1759216574" sldId="20974"/>
            <ac:picMk id="39" creationId="{00000000-0000-0000-0000-000000000000}"/>
          </ac:picMkLst>
        </pc:picChg>
        <pc:picChg chg="del">
          <ac:chgData name="Prolay Ghosh" userId="b7af4a88-195a-4c77-9339-a13732cd096f" providerId="ADAL" clId="{3625CD61-9FE5-4276-9799-D1F011D1F900}" dt="2021-06-14T12:31:59.768" v="12" actId="478"/>
          <ac:picMkLst>
            <pc:docMk/>
            <pc:sldMk cId="1759216574" sldId="20974"/>
            <ac:picMk id="43" creationId="{00000000-0000-0000-0000-000000000000}"/>
          </ac:picMkLst>
        </pc:picChg>
        <pc:picChg chg="add del mod">
          <ac:chgData name="Prolay Ghosh" userId="b7af4a88-195a-4c77-9339-a13732cd096f" providerId="ADAL" clId="{3625CD61-9FE5-4276-9799-D1F011D1F900}" dt="2021-06-14T12:47:19.194" v="148" actId="478"/>
          <ac:picMkLst>
            <pc:docMk/>
            <pc:sldMk cId="1759216574" sldId="20974"/>
            <ac:picMk id="82" creationId="{DB46A305-71A5-4CCA-974C-C684E4136674}"/>
          </ac:picMkLst>
        </pc:picChg>
        <pc:picChg chg="add del mod">
          <ac:chgData name="Prolay Ghosh" userId="b7af4a88-195a-4c77-9339-a13732cd096f" providerId="ADAL" clId="{3625CD61-9FE5-4276-9799-D1F011D1F900}" dt="2021-06-14T12:47:21.832" v="149" actId="478"/>
          <ac:picMkLst>
            <pc:docMk/>
            <pc:sldMk cId="1759216574" sldId="20974"/>
            <ac:picMk id="85" creationId="{B5920C0C-E841-4B55-A004-573EC6BDA41B}"/>
          </ac:picMkLst>
        </pc:picChg>
        <pc:picChg chg="add del mod">
          <ac:chgData name="Prolay Ghosh" userId="b7af4a88-195a-4c77-9339-a13732cd096f" providerId="ADAL" clId="{3625CD61-9FE5-4276-9799-D1F011D1F900}" dt="2021-06-14T12:47:24.148" v="150" actId="478"/>
          <ac:picMkLst>
            <pc:docMk/>
            <pc:sldMk cId="1759216574" sldId="20974"/>
            <ac:picMk id="88" creationId="{B97E720C-7C88-4BE5-B4D1-C94F92643F69}"/>
          </ac:picMkLst>
        </pc:picChg>
        <pc:picChg chg="add del mod">
          <ac:chgData name="Prolay Ghosh" userId="b7af4a88-195a-4c77-9339-a13732cd096f" providerId="ADAL" clId="{3625CD61-9FE5-4276-9799-D1F011D1F900}" dt="2021-06-14T12:47:26.960" v="151" actId="478"/>
          <ac:picMkLst>
            <pc:docMk/>
            <pc:sldMk cId="1759216574" sldId="20974"/>
            <ac:picMk id="93" creationId="{A2068925-8D18-4BF9-BB55-45B9EF713215}"/>
          </ac:picMkLst>
        </pc:picChg>
        <pc:picChg chg="add del mod">
          <ac:chgData name="Prolay Ghosh" userId="b7af4a88-195a-4c77-9339-a13732cd096f" providerId="ADAL" clId="{3625CD61-9FE5-4276-9799-D1F011D1F900}" dt="2021-06-14T13:13:35.932" v="183" actId="478"/>
          <ac:picMkLst>
            <pc:docMk/>
            <pc:sldMk cId="1759216574" sldId="20974"/>
            <ac:picMk id="95" creationId="{E8D5EDF2-AC9C-4B12-9043-5C1C68BBD36D}"/>
          </ac:picMkLst>
        </pc:picChg>
        <pc:picChg chg="add del mod">
          <ac:chgData name="Prolay Ghosh" userId="b7af4a88-195a-4c77-9339-a13732cd096f" providerId="ADAL" clId="{3625CD61-9FE5-4276-9799-D1F011D1F900}" dt="2021-06-14T13:15:24.122" v="194" actId="478"/>
          <ac:picMkLst>
            <pc:docMk/>
            <pc:sldMk cId="1759216574" sldId="20974"/>
            <ac:picMk id="97" creationId="{C122724A-D77A-4BBE-A816-8D58D433A13B}"/>
          </ac:picMkLst>
        </pc:picChg>
        <pc:picChg chg="add del mod">
          <ac:chgData name="Prolay Ghosh" userId="b7af4a88-195a-4c77-9339-a13732cd096f" providerId="ADAL" clId="{3625CD61-9FE5-4276-9799-D1F011D1F900}" dt="2021-06-14T13:18:33.768" v="215" actId="478"/>
          <ac:picMkLst>
            <pc:docMk/>
            <pc:sldMk cId="1759216574" sldId="20974"/>
            <ac:picMk id="99" creationId="{BAFAEBBC-84C4-44B5-9115-A2CCFD45458D}"/>
          </ac:picMkLst>
        </pc:picChg>
      </pc:sldChg>
      <pc:sldChg chg="addSp delSp modSp add">
        <pc:chgData name="Prolay Ghosh" userId="b7af4a88-195a-4c77-9339-a13732cd096f" providerId="ADAL" clId="{3625CD61-9FE5-4276-9799-D1F011D1F900}" dt="2021-06-15T08:46:13.901" v="492" actId="1076"/>
        <pc:sldMkLst>
          <pc:docMk/>
          <pc:sldMk cId="969161395" sldId="20975"/>
        </pc:sldMkLst>
        <pc:spChg chg="mod">
          <ac:chgData name="Prolay Ghosh" userId="b7af4a88-195a-4c77-9339-a13732cd096f" providerId="ADAL" clId="{3625CD61-9FE5-4276-9799-D1F011D1F900}" dt="2021-06-15T08:35:30.484" v="406" actId="20577"/>
          <ac:spMkLst>
            <pc:docMk/>
            <pc:sldMk cId="969161395" sldId="20975"/>
            <ac:spMk id="3" creationId="{627520A6-510D-4A36-91C0-951D65962E3D}"/>
          </ac:spMkLst>
        </pc:spChg>
        <pc:spChg chg="del">
          <ac:chgData name="Prolay Ghosh" userId="b7af4a88-195a-4c77-9339-a13732cd096f" providerId="ADAL" clId="{3625CD61-9FE5-4276-9799-D1F011D1F900}" dt="2021-06-15T08:22:22.471" v="327" actId="478"/>
          <ac:spMkLst>
            <pc:docMk/>
            <pc:sldMk cId="969161395" sldId="20975"/>
            <ac:spMk id="27"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28"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29"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30"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31"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32"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33"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34"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35"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36"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37"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38"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40"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41"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42"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44"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45"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46"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47"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48"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49"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50"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51"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52"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53"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54"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55"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56"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57"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58"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59"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60"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61"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62"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63"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64"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65"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66"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67"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68"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69"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70"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71"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72"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73"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74"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75"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76"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83"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87"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89"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90" creationId="{00000000-0000-0000-0000-000000000000}"/>
          </ac:spMkLst>
        </pc:spChg>
        <pc:spChg chg="del">
          <ac:chgData name="Prolay Ghosh" userId="b7af4a88-195a-4c77-9339-a13732cd096f" providerId="ADAL" clId="{3625CD61-9FE5-4276-9799-D1F011D1F900}" dt="2021-06-15T08:22:22.471" v="327" actId="478"/>
          <ac:spMkLst>
            <pc:docMk/>
            <pc:sldMk cId="969161395" sldId="20975"/>
            <ac:spMk id="91" creationId="{00000000-0000-0000-0000-000000000000}"/>
          </ac:spMkLst>
        </pc:spChg>
        <pc:graphicFrameChg chg="add del">
          <ac:chgData name="Prolay Ghosh" userId="b7af4a88-195a-4c77-9339-a13732cd096f" providerId="ADAL" clId="{3625CD61-9FE5-4276-9799-D1F011D1F900}" dt="2021-06-15T08:30:07.161" v="333"/>
          <ac:graphicFrameMkLst>
            <pc:docMk/>
            <pc:sldMk cId="969161395" sldId="20975"/>
            <ac:graphicFrameMk id="2" creationId="{54756DF1-FF83-483B-95F0-8BEE21DC4A41}"/>
          </ac:graphicFrameMkLst>
        </pc:graphicFrameChg>
        <pc:graphicFrameChg chg="add mod modGraphic">
          <ac:chgData name="Prolay Ghosh" userId="b7af4a88-195a-4c77-9339-a13732cd096f" providerId="ADAL" clId="{3625CD61-9FE5-4276-9799-D1F011D1F900}" dt="2021-06-15T08:46:13.901" v="492" actId="1076"/>
          <ac:graphicFrameMkLst>
            <pc:docMk/>
            <pc:sldMk cId="969161395" sldId="20975"/>
            <ac:graphicFrameMk id="4" creationId="{A267EEA9-A7E7-4D6C-B3FE-CBCC1065AC99}"/>
          </ac:graphicFrameMkLst>
        </pc:graphicFrameChg>
        <pc:picChg chg="add del mod">
          <ac:chgData name="Prolay Ghosh" userId="b7af4a88-195a-4c77-9339-a13732cd096f" providerId="ADAL" clId="{3625CD61-9FE5-4276-9799-D1F011D1F900}" dt="2021-06-15T08:40:58.874" v="416" actId="478"/>
          <ac:picMkLst>
            <pc:docMk/>
            <pc:sldMk cId="969161395" sldId="20975"/>
            <ac:picMk id="6" creationId="{C6599732-11ED-4473-97E5-3321655CB11B}"/>
          </ac:picMkLst>
        </pc:picChg>
        <pc:picChg chg="add mod">
          <ac:chgData name="Prolay Ghosh" userId="b7af4a88-195a-4c77-9339-a13732cd096f" providerId="ADAL" clId="{3625CD61-9FE5-4276-9799-D1F011D1F900}" dt="2021-06-15T08:42:58.366" v="469" actId="1035"/>
          <ac:picMkLst>
            <pc:docMk/>
            <pc:sldMk cId="969161395" sldId="20975"/>
            <ac:picMk id="8" creationId="{4E1BFD9B-4B9A-4D22-9638-EBF62E5D9FCD}"/>
          </ac:picMkLst>
        </pc:picChg>
        <pc:picChg chg="del">
          <ac:chgData name="Prolay Ghosh" userId="b7af4a88-195a-4c77-9339-a13732cd096f" providerId="ADAL" clId="{3625CD61-9FE5-4276-9799-D1F011D1F900}" dt="2021-06-15T08:22:22.471" v="327" actId="478"/>
          <ac:picMkLst>
            <pc:docMk/>
            <pc:sldMk cId="969161395" sldId="20975"/>
            <ac:picMk id="39" creationId="{00000000-0000-0000-0000-000000000000}"/>
          </ac:picMkLst>
        </pc:picChg>
        <pc:picChg chg="del">
          <ac:chgData name="Prolay Ghosh" userId="b7af4a88-195a-4c77-9339-a13732cd096f" providerId="ADAL" clId="{3625CD61-9FE5-4276-9799-D1F011D1F900}" dt="2021-06-15T08:22:22.471" v="327" actId="478"/>
          <ac:picMkLst>
            <pc:docMk/>
            <pc:sldMk cId="969161395" sldId="20975"/>
            <ac:picMk id="43" creationId="{00000000-0000-0000-0000-000000000000}"/>
          </ac:picMkLst>
        </pc:picChg>
        <pc:picChg chg="add mod">
          <ac:chgData name="Prolay Ghosh" userId="b7af4a88-195a-4c77-9339-a13732cd096f" providerId="ADAL" clId="{3625CD61-9FE5-4276-9799-D1F011D1F900}" dt="2021-06-15T08:42:58.366" v="469" actId="1035"/>
          <ac:picMkLst>
            <pc:docMk/>
            <pc:sldMk cId="969161395" sldId="20975"/>
            <ac:picMk id="77" creationId="{9C03483F-0D70-4088-8EB1-9DBCA1CDDF5E}"/>
          </ac:picMkLst>
        </pc:picChg>
        <pc:picChg chg="add mod">
          <ac:chgData name="Prolay Ghosh" userId="b7af4a88-195a-4c77-9339-a13732cd096f" providerId="ADAL" clId="{3625CD61-9FE5-4276-9799-D1F011D1F900}" dt="2021-06-15T08:42:58.366" v="469" actId="1035"/>
          <ac:picMkLst>
            <pc:docMk/>
            <pc:sldMk cId="969161395" sldId="20975"/>
            <ac:picMk id="78" creationId="{7645E5E7-65C2-4C9C-AEE1-4E9C139F0EE9}"/>
          </ac:picMkLst>
        </pc:picChg>
        <pc:picChg chg="add mod">
          <ac:chgData name="Prolay Ghosh" userId="b7af4a88-195a-4c77-9339-a13732cd096f" providerId="ADAL" clId="{3625CD61-9FE5-4276-9799-D1F011D1F900}" dt="2021-06-15T08:42:58.366" v="469" actId="1035"/>
          <ac:picMkLst>
            <pc:docMk/>
            <pc:sldMk cId="969161395" sldId="20975"/>
            <ac:picMk id="79" creationId="{43D35737-D9AF-4451-88D6-050780978043}"/>
          </ac:picMkLst>
        </pc:picChg>
        <pc:picChg chg="add mod">
          <ac:chgData name="Prolay Ghosh" userId="b7af4a88-195a-4c77-9339-a13732cd096f" providerId="ADAL" clId="{3625CD61-9FE5-4276-9799-D1F011D1F900}" dt="2021-06-15T08:42:58.366" v="469" actId="1035"/>
          <ac:picMkLst>
            <pc:docMk/>
            <pc:sldMk cId="969161395" sldId="20975"/>
            <ac:picMk id="80" creationId="{54289129-BBDB-4A4B-9EFD-1146C1B6D292}"/>
          </ac:picMkLst>
        </pc:picChg>
        <pc:picChg chg="add mod">
          <ac:chgData name="Prolay Ghosh" userId="b7af4a88-195a-4c77-9339-a13732cd096f" providerId="ADAL" clId="{3625CD61-9FE5-4276-9799-D1F011D1F900}" dt="2021-06-15T08:42:58.366" v="469" actId="1035"/>
          <ac:picMkLst>
            <pc:docMk/>
            <pc:sldMk cId="969161395" sldId="20975"/>
            <ac:picMk id="81" creationId="{B40FE5A0-800D-4A01-BE6B-84365F5CA44E}"/>
          </ac:picMkLst>
        </pc:picChg>
        <pc:picChg chg="add mod">
          <ac:chgData name="Prolay Ghosh" userId="b7af4a88-195a-4c77-9339-a13732cd096f" providerId="ADAL" clId="{3625CD61-9FE5-4276-9799-D1F011D1F900}" dt="2021-06-15T08:42:58.366" v="469" actId="1035"/>
          <ac:picMkLst>
            <pc:docMk/>
            <pc:sldMk cId="969161395" sldId="20975"/>
            <ac:picMk id="82" creationId="{FF08330E-BCB5-437F-A0F3-F6280ED5B678}"/>
          </ac:picMkLst>
        </pc:picChg>
        <pc:picChg chg="add mod">
          <ac:chgData name="Prolay Ghosh" userId="b7af4a88-195a-4c77-9339-a13732cd096f" providerId="ADAL" clId="{3625CD61-9FE5-4276-9799-D1F011D1F900}" dt="2021-06-15T08:42:58.366" v="469" actId="1035"/>
          <ac:picMkLst>
            <pc:docMk/>
            <pc:sldMk cId="969161395" sldId="20975"/>
            <ac:picMk id="84" creationId="{697618DD-A4ED-44D0-A796-C5D316903457}"/>
          </ac:picMkLst>
        </pc:picChg>
        <pc:picChg chg="add mod">
          <ac:chgData name="Prolay Ghosh" userId="b7af4a88-195a-4c77-9339-a13732cd096f" providerId="ADAL" clId="{3625CD61-9FE5-4276-9799-D1F011D1F900}" dt="2021-06-15T08:42:58.366" v="469" actId="1035"/>
          <ac:picMkLst>
            <pc:docMk/>
            <pc:sldMk cId="969161395" sldId="20975"/>
            <ac:picMk id="85" creationId="{81CFBE54-7DA6-458D-B374-6921D285BA34}"/>
          </ac:picMkLst>
        </pc:picChg>
        <pc:picChg chg="add mod">
          <ac:chgData name="Prolay Ghosh" userId="b7af4a88-195a-4c77-9339-a13732cd096f" providerId="ADAL" clId="{3625CD61-9FE5-4276-9799-D1F011D1F900}" dt="2021-06-15T08:42:58.366" v="469" actId="1035"/>
          <ac:picMkLst>
            <pc:docMk/>
            <pc:sldMk cId="969161395" sldId="20975"/>
            <ac:picMk id="86" creationId="{44C03890-2ABF-447D-9F55-BC0690B10A43}"/>
          </ac:picMkLst>
        </pc:picChg>
        <pc:picChg chg="add mod">
          <ac:chgData name="Prolay Ghosh" userId="b7af4a88-195a-4c77-9339-a13732cd096f" providerId="ADAL" clId="{3625CD61-9FE5-4276-9799-D1F011D1F900}" dt="2021-06-15T08:42:58.366" v="469" actId="1035"/>
          <ac:picMkLst>
            <pc:docMk/>
            <pc:sldMk cId="969161395" sldId="20975"/>
            <ac:picMk id="88" creationId="{3239978A-712A-4F4C-A8EE-D07692704987}"/>
          </ac:picMkLst>
        </pc:picChg>
        <pc:picChg chg="add mod">
          <ac:chgData name="Prolay Ghosh" userId="b7af4a88-195a-4c77-9339-a13732cd096f" providerId="ADAL" clId="{3625CD61-9FE5-4276-9799-D1F011D1F900}" dt="2021-06-15T08:42:58.366" v="469" actId="1035"/>
          <ac:picMkLst>
            <pc:docMk/>
            <pc:sldMk cId="969161395" sldId="20975"/>
            <ac:picMk id="92" creationId="{C9E6BBC3-1553-4427-9618-B773FEE8BBA0}"/>
          </ac:picMkLst>
        </pc:picChg>
        <pc:picChg chg="add mod">
          <ac:chgData name="Prolay Ghosh" userId="b7af4a88-195a-4c77-9339-a13732cd096f" providerId="ADAL" clId="{3625CD61-9FE5-4276-9799-D1F011D1F900}" dt="2021-06-15T08:43:10.830" v="471" actId="1076"/>
          <ac:picMkLst>
            <pc:docMk/>
            <pc:sldMk cId="969161395" sldId="20975"/>
            <ac:picMk id="93" creationId="{DCFE6190-CDE0-4056-8260-FAB5B8B479AD}"/>
          </ac:picMkLst>
        </pc:picChg>
        <pc:picChg chg="add mod">
          <ac:chgData name="Prolay Ghosh" userId="b7af4a88-195a-4c77-9339-a13732cd096f" providerId="ADAL" clId="{3625CD61-9FE5-4276-9799-D1F011D1F900}" dt="2021-06-15T08:43:10.830" v="471" actId="1076"/>
          <ac:picMkLst>
            <pc:docMk/>
            <pc:sldMk cId="969161395" sldId="20975"/>
            <ac:picMk id="94" creationId="{8711A061-718D-48DF-83C6-F62513F52940}"/>
          </ac:picMkLst>
        </pc:picChg>
        <pc:picChg chg="add mod">
          <ac:chgData name="Prolay Ghosh" userId="b7af4a88-195a-4c77-9339-a13732cd096f" providerId="ADAL" clId="{3625CD61-9FE5-4276-9799-D1F011D1F900}" dt="2021-06-15T08:43:10.830" v="471" actId="1076"/>
          <ac:picMkLst>
            <pc:docMk/>
            <pc:sldMk cId="969161395" sldId="20975"/>
            <ac:picMk id="95" creationId="{FF94691E-E522-49D4-AB1A-3FBDB4ADDBBE}"/>
          </ac:picMkLst>
        </pc:picChg>
        <pc:picChg chg="add mod">
          <ac:chgData name="Prolay Ghosh" userId="b7af4a88-195a-4c77-9339-a13732cd096f" providerId="ADAL" clId="{3625CD61-9FE5-4276-9799-D1F011D1F900}" dt="2021-06-15T08:43:10.830" v="471" actId="1076"/>
          <ac:picMkLst>
            <pc:docMk/>
            <pc:sldMk cId="969161395" sldId="20975"/>
            <ac:picMk id="96" creationId="{5FA87187-E0D0-4344-9205-8259087A0B88}"/>
          </ac:picMkLst>
        </pc:picChg>
        <pc:picChg chg="add mod">
          <ac:chgData name="Prolay Ghosh" userId="b7af4a88-195a-4c77-9339-a13732cd096f" providerId="ADAL" clId="{3625CD61-9FE5-4276-9799-D1F011D1F900}" dt="2021-06-15T08:43:10.830" v="471" actId="1076"/>
          <ac:picMkLst>
            <pc:docMk/>
            <pc:sldMk cId="969161395" sldId="20975"/>
            <ac:picMk id="97" creationId="{7EDF84A3-D9F9-45C6-A690-2C418BB85F13}"/>
          </ac:picMkLst>
        </pc:picChg>
        <pc:picChg chg="add mod">
          <ac:chgData name="Prolay Ghosh" userId="b7af4a88-195a-4c77-9339-a13732cd096f" providerId="ADAL" clId="{3625CD61-9FE5-4276-9799-D1F011D1F900}" dt="2021-06-15T08:43:10.830" v="471" actId="1076"/>
          <ac:picMkLst>
            <pc:docMk/>
            <pc:sldMk cId="969161395" sldId="20975"/>
            <ac:picMk id="98" creationId="{6DE7D3BD-3F1D-4542-92D6-F52AE6FA5513}"/>
          </ac:picMkLst>
        </pc:picChg>
        <pc:picChg chg="add mod">
          <ac:chgData name="Prolay Ghosh" userId="b7af4a88-195a-4c77-9339-a13732cd096f" providerId="ADAL" clId="{3625CD61-9FE5-4276-9799-D1F011D1F900}" dt="2021-06-15T08:43:10.830" v="471" actId="1076"/>
          <ac:picMkLst>
            <pc:docMk/>
            <pc:sldMk cId="969161395" sldId="20975"/>
            <ac:picMk id="99" creationId="{11E4AA52-493E-4E26-BBE3-388EE08FF4E5}"/>
          </ac:picMkLst>
        </pc:picChg>
        <pc:picChg chg="add mod">
          <ac:chgData name="Prolay Ghosh" userId="b7af4a88-195a-4c77-9339-a13732cd096f" providerId="ADAL" clId="{3625CD61-9FE5-4276-9799-D1F011D1F900}" dt="2021-06-15T08:43:10.830" v="471" actId="1076"/>
          <ac:picMkLst>
            <pc:docMk/>
            <pc:sldMk cId="969161395" sldId="20975"/>
            <ac:picMk id="100" creationId="{B8C66994-9EED-495B-BAB7-9E112A9E5681}"/>
          </ac:picMkLst>
        </pc:picChg>
        <pc:picChg chg="add mod">
          <ac:chgData name="Prolay Ghosh" userId="b7af4a88-195a-4c77-9339-a13732cd096f" providerId="ADAL" clId="{3625CD61-9FE5-4276-9799-D1F011D1F900}" dt="2021-06-15T08:43:10.830" v="471" actId="1076"/>
          <ac:picMkLst>
            <pc:docMk/>
            <pc:sldMk cId="969161395" sldId="20975"/>
            <ac:picMk id="101" creationId="{CF2FA9D2-1A2B-436D-9531-DA25B4698780}"/>
          </ac:picMkLst>
        </pc:picChg>
        <pc:picChg chg="add mod">
          <ac:chgData name="Prolay Ghosh" userId="b7af4a88-195a-4c77-9339-a13732cd096f" providerId="ADAL" clId="{3625CD61-9FE5-4276-9799-D1F011D1F900}" dt="2021-06-15T08:43:10.830" v="471" actId="1076"/>
          <ac:picMkLst>
            <pc:docMk/>
            <pc:sldMk cId="969161395" sldId="20975"/>
            <ac:picMk id="102" creationId="{3E9C01EE-4A48-4D20-9B53-168C5DE56856}"/>
          </ac:picMkLst>
        </pc:picChg>
        <pc:picChg chg="add mod">
          <ac:chgData name="Prolay Ghosh" userId="b7af4a88-195a-4c77-9339-a13732cd096f" providerId="ADAL" clId="{3625CD61-9FE5-4276-9799-D1F011D1F900}" dt="2021-06-15T08:43:10.830" v="471" actId="1076"/>
          <ac:picMkLst>
            <pc:docMk/>
            <pc:sldMk cId="969161395" sldId="20975"/>
            <ac:picMk id="103" creationId="{FE53F199-AC6B-429B-AD14-E1CFAC866B59}"/>
          </ac:picMkLst>
        </pc:picChg>
        <pc:picChg chg="add mod">
          <ac:chgData name="Prolay Ghosh" userId="b7af4a88-195a-4c77-9339-a13732cd096f" providerId="ADAL" clId="{3625CD61-9FE5-4276-9799-D1F011D1F900}" dt="2021-06-15T08:43:10.830" v="471" actId="1076"/>
          <ac:picMkLst>
            <pc:docMk/>
            <pc:sldMk cId="969161395" sldId="20975"/>
            <ac:picMk id="104" creationId="{06E97BCD-01AA-4168-ACFD-A800665C58FB}"/>
          </ac:picMkLst>
        </pc:picChg>
        <pc:picChg chg="add mod">
          <ac:chgData name="Prolay Ghosh" userId="b7af4a88-195a-4c77-9339-a13732cd096f" providerId="ADAL" clId="{3625CD61-9FE5-4276-9799-D1F011D1F900}" dt="2021-06-15T08:43:17.976" v="473" actId="1076"/>
          <ac:picMkLst>
            <pc:docMk/>
            <pc:sldMk cId="969161395" sldId="20975"/>
            <ac:picMk id="105" creationId="{8D11CB5F-7BAF-4978-907C-826550EC0373}"/>
          </ac:picMkLst>
        </pc:picChg>
        <pc:picChg chg="add mod">
          <ac:chgData name="Prolay Ghosh" userId="b7af4a88-195a-4c77-9339-a13732cd096f" providerId="ADAL" clId="{3625CD61-9FE5-4276-9799-D1F011D1F900}" dt="2021-06-15T08:43:17.976" v="473" actId="1076"/>
          <ac:picMkLst>
            <pc:docMk/>
            <pc:sldMk cId="969161395" sldId="20975"/>
            <ac:picMk id="106" creationId="{ACA9DB3A-C3D1-4F2F-8691-057F60BB5129}"/>
          </ac:picMkLst>
        </pc:picChg>
        <pc:picChg chg="add mod">
          <ac:chgData name="Prolay Ghosh" userId="b7af4a88-195a-4c77-9339-a13732cd096f" providerId="ADAL" clId="{3625CD61-9FE5-4276-9799-D1F011D1F900}" dt="2021-06-15T08:43:17.976" v="473" actId="1076"/>
          <ac:picMkLst>
            <pc:docMk/>
            <pc:sldMk cId="969161395" sldId="20975"/>
            <ac:picMk id="107" creationId="{FC5DE61C-C80E-444F-AFC3-8EF1A5398AF3}"/>
          </ac:picMkLst>
        </pc:picChg>
        <pc:picChg chg="add mod">
          <ac:chgData name="Prolay Ghosh" userId="b7af4a88-195a-4c77-9339-a13732cd096f" providerId="ADAL" clId="{3625CD61-9FE5-4276-9799-D1F011D1F900}" dt="2021-06-15T08:43:17.976" v="473" actId="1076"/>
          <ac:picMkLst>
            <pc:docMk/>
            <pc:sldMk cId="969161395" sldId="20975"/>
            <ac:picMk id="108" creationId="{C40BD7EB-A842-4CB5-8F2F-08DE48065C5D}"/>
          </ac:picMkLst>
        </pc:picChg>
        <pc:picChg chg="add mod">
          <ac:chgData name="Prolay Ghosh" userId="b7af4a88-195a-4c77-9339-a13732cd096f" providerId="ADAL" clId="{3625CD61-9FE5-4276-9799-D1F011D1F900}" dt="2021-06-15T08:43:17.976" v="473" actId="1076"/>
          <ac:picMkLst>
            <pc:docMk/>
            <pc:sldMk cId="969161395" sldId="20975"/>
            <ac:picMk id="109" creationId="{004C5D8C-A371-4310-A105-419A75EC1A2D}"/>
          </ac:picMkLst>
        </pc:picChg>
        <pc:picChg chg="add mod">
          <ac:chgData name="Prolay Ghosh" userId="b7af4a88-195a-4c77-9339-a13732cd096f" providerId="ADAL" clId="{3625CD61-9FE5-4276-9799-D1F011D1F900}" dt="2021-06-15T08:43:17.976" v="473" actId="1076"/>
          <ac:picMkLst>
            <pc:docMk/>
            <pc:sldMk cId="969161395" sldId="20975"/>
            <ac:picMk id="110" creationId="{9DCDE34C-9EFA-41A6-88AC-B1EBDB1056E7}"/>
          </ac:picMkLst>
        </pc:picChg>
        <pc:picChg chg="add mod">
          <ac:chgData name="Prolay Ghosh" userId="b7af4a88-195a-4c77-9339-a13732cd096f" providerId="ADAL" clId="{3625CD61-9FE5-4276-9799-D1F011D1F900}" dt="2021-06-15T08:43:17.976" v="473" actId="1076"/>
          <ac:picMkLst>
            <pc:docMk/>
            <pc:sldMk cId="969161395" sldId="20975"/>
            <ac:picMk id="111" creationId="{ECCED1ED-24FF-4367-A250-86427BB60DF9}"/>
          </ac:picMkLst>
        </pc:picChg>
        <pc:picChg chg="add mod">
          <ac:chgData name="Prolay Ghosh" userId="b7af4a88-195a-4c77-9339-a13732cd096f" providerId="ADAL" clId="{3625CD61-9FE5-4276-9799-D1F011D1F900}" dt="2021-06-15T08:43:17.976" v="473" actId="1076"/>
          <ac:picMkLst>
            <pc:docMk/>
            <pc:sldMk cId="969161395" sldId="20975"/>
            <ac:picMk id="112" creationId="{E0EC24AE-9F82-4128-856B-B3DA0979A055}"/>
          </ac:picMkLst>
        </pc:picChg>
        <pc:picChg chg="add mod">
          <ac:chgData name="Prolay Ghosh" userId="b7af4a88-195a-4c77-9339-a13732cd096f" providerId="ADAL" clId="{3625CD61-9FE5-4276-9799-D1F011D1F900}" dt="2021-06-15T08:43:17.976" v="473" actId="1076"/>
          <ac:picMkLst>
            <pc:docMk/>
            <pc:sldMk cId="969161395" sldId="20975"/>
            <ac:picMk id="113" creationId="{C64C9C8A-FEA1-49AA-AB39-39846534C8C3}"/>
          </ac:picMkLst>
        </pc:picChg>
        <pc:picChg chg="add mod">
          <ac:chgData name="Prolay Ghosh" userId="b7af4a88-195a-4c77-9339-a13732cd096f" providerId="ADAL" clId="{3625CD61-9FE5-4276-9799-D1F011D1F900}" dt="2021-06-15T08:43:17.976" v="473" actId="1076"/>
          <ac:picMkLst>
            <pc:docMk/>
            <pc:sldMk cId="969161395" sldId="20975"/>
            <ac:picMk id="114" creationId="{2CCBC76C-8E16-4C41-8D7B-6296541C4EE8}"/>
          </ac:picMkLst>
        </pc:picChg>
        <pc:picChg chg="add mod">
          <ac:chgData name="Prolay Ghosh" userId="b7af4a88-195a-4c77-9339-a13732cd096f" providerId="ADAL" clId="{3625CD61-9FE5-4276-9799-D1F011D1F900}" dt="2021-06-15T08:43:17.976" v="473" actId="1076"/>
          <ac:picMkLst>
            <pc:docMk/>
            <pc:sldMk cId="969161395" sldId="20975"/>
            <ac:picMk id="115" creationId="{276F4518-D907-4340-97AD-73E83756C5C8}"/>
          </ac:picMkLst>
        </pc:picChg>
        <pc:picChg chg="add mod">
          <ac:chgData name="Prolay Ghosh" userId="b7af4a88-195a-4c77-9339-a13732cd096f" providerId="ADAL" clId="{3625CD61-9FE5-4276-9799-D1F011D1F900}" dt="2021-06-15T08:43:17.976" v="473" actId="1076"/>
          <ac:picMkLst>
            <pc:docMk/>
            <pc:sldMk cId="969161395" sldId="20975"/>
            <ac:picMk id="116" creationId="{AEEB7142-C88D-48A4-A75C-541C89EC3C0D}"/>
          </ac:picMkLst>
        </pc:picChg>
        <pc:picChg chg="add mod">
          <ac:chgData name="Prolay Ghosh" userId="b7af4a88-195a-4c77-9339-a13732cd096f" providerId="ADAL" clId="{3625CD61-9FE5-4276-9799-D1F011D1F900}" dt="2021-06-15T08:43:28.902" v="475" actId="1076"/>
          <ac:picMkLst>
            <pc:docMk/>
            <pc:sldMk cId="969161395" sldId="20975"/>
            <ac:picMk id="117" creationId="{531D2F71-A56A-46C9-BC93-54B88B23206C}"/>
          </ac:picMkLst>
        </pc:picChg>
        <pc:picChg chg="add mod">
          <ac:chgData name="Prolay Ghosh" userId="b7af4a88-195a-4c77-9339-a13732cd096f" providerId="ADAL" clId="{3625CD61-9FE5-4276-9799-D1F011D1F900}" dt="2021-06-15T08:43:28.902" v="475" actId="1076"/>
          <ac:picMkLst>
            <pc:docMk/>
            <pc:sldMk cId="969161395" sldId="20975"/>
            <ac:picMk id="118" creationId="{1EE42720-F495-4271-8547-4098ADF7F4A3}"/>
          </ac:picMkLst>
        </pc:picChg>
        <pc:picChg chg="add mod">
          <ac:chgData name="Prolay Ghosh" userId="b7af4a88-195a-4c77-9339-a13732cd096f" providerId="ADAL" clId="{3625CD61-9FE5-4276-9799-D1F011D1F900}" dt="2021-06-15T08:43:28.902" v="475" actId="1076"/>
          <ac:picMkLst>
            <pc:docMk/>
            <pc:sldMk cId="969161395" sldId="20975"/>
            <ac:picMk id="119" creationId="{8AAAAC95-EE9E-4943-BE39-D939DB4E74A5}"/>
          </ac:picMkLst>
        </pc:picChg>
        <pc:picChg chg="add mod">
          <ac:chgData name="Prolay Ghosh" userId="b7af4a88-195a-4c77-9339-a13732cd096f" providerId="ADAL" clId="{3625CD61-9FE5-4276-9799-D1F011D1F900}" dt="2021-06-15T08:43:28.902" v="475" actId="1076"/>
          <ac:picMkLst>
            <pc:docMk/>
            <pc:sldMk cId="969161395" sldId="20975"/>
            <ac:picMk id="120" creationId="{F2DFD653-931C-4CD4-B298-9B01DA4135EC}"/>
          </ac:picMkLst>
        </pc:picChg>
        <pc:picChg chg="add mod">
          <ac:chgData name="Prolay Ghosh" userId="b7af4a88-195a-4c77-9339-a13732cd096f" providerId="ADAL" clId="{3625CD61-9FE5-4276-9799-D1F011D1F900}" dt="2021-06-15T08:43:28.902" v="475" actId="1076"/>
          <ac:picMkLst>
            <pc:docMk/>
            <pc:sldMk cId="969161395" sldId="20975"/>
            <ac:picMk id="121" creationId="{33D07DBE-A553-411B-A8EE-C50EF732B98C}"/>
          </ac:picMkLst>
        </pc:picChg>
        <pc:picChg chg="add mod">
          <ac:chgData name="Prolay Ghosh" userId="b7af4a88-195a-4c77-9339-a13732cd096f" providerId="ADAL" clId="{3625CD61-9FE5-4276-9799-D1F011D1F900}" dt="2021-06-15T08:43:28.902" v="475" actId="1076"/>
          <ac:picMkLst>
            <pc:docMk/>
            <pc:sldMk cId="969161395" sldId="20975"/>
            <ac:picMk id="122" creationId="{3FE7CBDC-A4AD-474A-8D82-7E6C9B22B543}"/>
          </ac:picMkLst>
        </pc:picChg>
        <pc:picChg chg="add mod">
          <ac:chgData name="Prolay Ghosh" userId="b7af4a88-195a-4c77-9339-a13732cd096f" providerId="ADAL" clId="{3625CD61-9FE5-4276-9799-D1F011D1F900}" dt="2021-06-15T08:43:28.902" v="475" actId="1076"/>
          <ac:picMkLst>
            <pc:docMk/>
            <pc:sldMk cId="969161395" sldId="20975"/>
            <ac:picMk id="123" creationId="{99D49373-9AE9-40EE-9B33-EC0B29C870BD}"/>
          </ac:picMkLst>
        </pc:picChg>
        <pc:picChg chg="add mod">
          <ac:chgData name="Prolay Ghosh" userId="b7af4a88-195a-4c77-9339-a13732cd096f" providerId="ADAL" clId="{3625CD61-9FE5-4276-9799-D1F011D1F900}" dt="2021-06-15T08:43:28.902" v="475" actId="1076"/>
          <ac:picMkLst>
            <pc:docMk/>
            <pc:sldMk cId="969161395" sldId="20975"/>
            <ac:picMk id="124" creationId="{DB748ED7-7957-4EA3-B201-43A99D81868A}"/>
          </ac:picMkLst>
        </pc:picChg>
        <pc:picChg chg="add mod">
          <ac:chgData name="Prolay Ghosh" userId="b7af4a88-195a-4c77-9339-a13732cd096f" providerId="ADAL" clId="{3625CD61-9FE5-4276-9799-D1F011D1F900}" dt="2021-06-15T08:43:28.902" v="475" actId="1076"/>
          <ac:picMkLst>
            <pc:docMk/>
            <pc:sldMk cId="969161395" sldId="20975"/>
            <ac:picMk id="125" creationId="{37529AD2-E410-407D-9E44-33EEC00B19CE}"/>
          </ac:picMkLst>
        </pc:picChg>
        <pc:picChg chg="add mod">
          <ac:chgData name="Prolay Ghosh" userId="b7af4a88-195a-4c77-9339-a13732cd096f" providerId="ADAL" clId="{3625CD61-9FE5-4276-9799-D1F011D1F900}" dt="2021-06-15T08:43:28.902" v="475" actId="1076"/>
          <ac:picMkLst>
            <pc:docMk/>
            <pc:sldMk cId="969161395" sldId="20975"/>
            <ac:picMk id="126" creationId="{BD0172AE-2384-4D2B-8715-ECF86C56C984}"/>
          </ac:picMkLst>
        </pc:picChg>
        <pc:picChg chg="add mod">
          <ac:chgData name="Prolay Ghosh" userId="b7af4a88-195a-4c77-9339-a13732cd096f" providerId="ADAL" clId="{3625CD61-9FE5-4276-9799-D1F011D1F900}" dt="2021-06-15T08:43:28.902" v="475" actId="1076"/>
          <ac:picMkLst>
            <pc:docMk/>
            <pc:sldMk cId="969161395" sldId="20975"/>
            <ac:picMk id="127" creationId="{DB9C0B9F-C518-4673-BFAD-F30AFDF69A94}"/>
          </ac:picMkLst>
        </pc:picChg>
        <pc:picChg chg="add mod">
          <ac:chgData name="Prolay Ghosh" userId="b7af4a88-195a-4c77-9339-a13732cd096f" providerId="ADAL" clId="{3625CD61-9FE5-4276-9799-D1F011D1F900}" dt="2021-06-15T08:43:28.902" v="475" actId="1076"/>
          <ac:picMkLst>
            <pc:docMk/>
            <pc:sldMk cId="969161395" sldId="20975"/>
            <ac:picMk id="128" creationId="{1AE34B71-337A-49F8-91CF-B62B6111B9FC}"/>
          </ac:picMkLst>
        </pc:picChg>
        <pc:picChg chg="add mod">
          <ac:chgData name="Prolay Ghosh" userId="b7af4a88-195a-4c77-9339-a13732cd096f" providerId="ADAL" clId="{3625CD61-9FE5-4276-9799-D1F011D1F900}" dt="2021-06-15T08:43:35.383" v="477" actId="1076"/>
          <ac:picMkLst>
            <pc:docMk/>
            <pc:sldMk cId="969161395" sldId="20975"/>
            <ac:picMk id="129" creationId="{9784C451-E809-468B-AC87-2CDDAAE3DBC0}"/>
          </ac:picMkLst>
        </pc:picChg>
        <pc:picChg chg="add mod">
          <ac:chgData name="Prolay Ghosh" userId="b7af4a88-195a-4c77-9339-a13732cd096f" providerId="ADAL" clId="{3625CD61-9FE5-4276-9799-D1F011D1F900}" dt="2021-06-15T08:43:35.383" v="477" actId="1076"/>
          <ac:picMkLst>
            <pc:docMk/>
            <pc:sldMk cId="969161395" sldId="20975"/>
            <ac:picMk id="130" creationId="{8102516F-8D0C-489C-A7DC-F2CB1E5857A5}"/>
          </ac:picMkLst>
        </pc:picChg>
        <pc:picChg chg="add mod">
          <ac:chgData name="Prolay Ghosh" userId="b7af4a88-195a-4c77-9339-a13732cd096f" providerId="ADAL" clId="{3625CD61-9FE5-4276-9799-D1F011D1F900}" dt="2021-06-15T08:43:35.383" v="477" actId="1076"/>
          <ac:picMkLst>
            <pc:docMk/>
            <pc:sldMk cId="969161395" sldId="20975"/>
            <ac:picMk id="131" creationId="{A12EF3B3-E97D-44E6-A7D5-319E612667CB}"/>
          </ac:picMkLst>
        </pc:picChg>
        <pc:picChg chg="add mod">
          <ac:chgData name="Prolay Ghosh" userId="b7af4a88-195a-4c77-9339-a13732cd096f" providerId="ADAL" clId="{3625CD61-9FE5-4276-9799-D1F011D1F900}" dt="2021-06-15T08:43:35.383" v="477" actId="1076"/>
          <ac:picMkLst>
            <pc:docMk/>
            <pc:sldMk cId="969161395" sldId="20975"/>
            <ac:picMk id="132" creationId="{1E4D943C-9AE7-4069-AF7A-63819CD45911}"/>
          </ac:picMkLst>
        </pc:picChg>
        <pc:picChg chg="add mod">
          <ac:chgData name="Prolay Ghosh" userId="b7af4a88-195a-4c77-9339-a13732cd096f" providerId="ADAL" clId="{3625CD61-9FE5-4276-9799-D1F011D1F900}" dt="2021-06-15T08:43:35.383" v="477" actId="1076"/>
          <ac:picMkLst>
            <pc:docMk/>
            <pc:sldMk cId="969161395" sldId="20975"/>
            <ac:picMk id="133" creationId="{D97D8B08-23DF-4016-B22C-0D11D0F68974}"/>
          </ac:picMkLst>
        </pc:picChg>
        <pc:picChg chg="add mod">
          <ac:chgData name="Prolay Ghosh" userId="b7af4a88-195a-4c77-9339-a13732cd096f" providerId="ADAL" clId="{3625CD61-9FE5-4276-9799-D1F011D1F900}" dt="2021-06-15T08:43:35.383" v="477" actId="1076"/>
          <ac:picMkLst>
            <pc:docMk/>
            <pc:sldMk cId="969161395" sldId="20975"/>
            <ac:picMk id="134" creationId="{CE12AB48-1C43-4BB8-A478-68661629EEC8}"/>
          </ac:picMkLst>
        </pc:picChg>
        <pc:picChg chg="add mod">
          <ac:chgData name="Prolay Ghosh" userId="b7af4a88-195a-4c77-9339-a13732cd096f" providerId="ADAL" clId="{3625CD61-9FE5-4276-9799-D1F011D1F900}" dt="2021-06-15T08:43:35.383" v="477" actId="1076"/>
          <ac:picMkLst>
            <pc:docMk/>
            <pc:sldMk cId="969161395" sldId="20975"/>
            <ac:picMk id="135" creationId="{962BEF65-82E4-48EB-8DE8-4948188DF05A}"/>
          </ac:picMkLst>
        </pc:picChg>
        <pc:picChg chg="add mod">
          <ac:chgData name="Prolay Ghosh" userId="b7af4a88-195a-4c77-9339-a13732cd096f" providerId="ADAL" clId="{3625CD61-9FE5-4276-9799-D1F011D1F900}" dt="2021-06-15T08:43:35.383" v="477" actId="1076"/>
          <ac:picMkLst>
            <pc:docMk/>
            <pc:sldMk cId="969161395" sldId="20975"/>
            <ac:picMk id="136" creationId="{4E956D60-526D-480F-8D38-B3CC9634BA1F}"/>
          </ac:picMkLst>
        </pc:picChg>
        <pc:picChg chg="add mod">
          <ac:chgData name="Prolay Ghosh" userId="b7af4a88-195a-4c77-9339-a13732cd096f" providerId="ADAL" clId="{3625CD61-9FE5-4276-9799-D1F011D1F900}" dt="2021-06-15T08:43:35.383" v="477" actId="1076"/>
          <ac:picMkLst>
            <pc:docMk/>
            <pc:sldMk cId="969161395" sldId="20975"/>
            <ac:picMk id="137" creationId="{E4C21D99-F473-410D-806D-30A6366BA218}"/>
          </ac:picMkLst>
        </pc:picChg>
        <pc:picChg chg="add mod">
          <ac:chgData name="Prolay Ghosh" userId="b7af4a88-195a-4c77-9339-a13732cd096f" providerId="ADAL" clId="{3625CD61-9FE5-4276-9799-D1F011D1F900}" dt="2021-06-15T08:43:35.383" v="477" actId="1076"/>
          <ac:picMkLst>
            <pc:docMk/>
            <pc:sldMk cId="969161395" sldId="20975"/>
            <ac:picMk id="138" creationId="{B11DCC01-97B0-4114-AF90-0C7A72BAE900}"/>
          </ac:picMkLst>
        </pc:picChg>
        <pc:picChg chg="add mod">
          <ac:chgData name="Prolay Ghosh" userId="b7af4a88-195a-4c77-9339-a13732cd096f" providerId="ADAL" clId="{3625CD61-9FE5-4276-9799-D1F011D1F900}" dt="2021-06-15T08:43:35.383" v="477" actId="1076"/>
          <ac:picMkLst>
            <pc:docMk/>
            <pc:sldMk cId="969161395" sldId="20975"/>
            <ac:picMk id="139" creationId="{62FFEC21-430F-48E7-BAAE-E2107216DD13}"/>
          </ac:picMkLst>
        </pc:picChg>
        <pc:picChg chg="add mod">
          <ac:chgData name="Prolay Ghosh" userId="b7af4a88-195a-4c77-9339-a13732cd096f" providerId="ADAL" clId="{3625CD61-9FE5-4276-9799-D1F011D1F900}" dt="2021-06-15T08:43:35.383" v="477" actId="1076"/>
          <ac:picMkLst>
            <pc:docMk/>
            <pc:sldMk cId="969161395" sldId="20975"/>
            <ac:picMk id="140" creationId="{E6EA8385-AFA2-4AB9-B898-595660AB8568}"/>
          </ac:picMkLst>
        </pc:picChg>
        <pc:picChg chg="add mod">
          <ac:chgData name="Prolay Ghosh" userId="b7af4a88-195a-4c77-9339-a13732cd096f" providerId="ADAL" clId="{3625CD61-9FE5-4276-9799-D1F011D1F900}" dt="2021-06-15T08:43:41.728" v="479" actId="1076"/>
          <ac:picMkLst>
            <pc:docMk/>
            <pc:sldMk cId="969161395" sldId="20975"/>
            <ac:picMk id="141" creationId="{23F81E6B-65C0-45AE-91E3-AD42B6B5EE7C}"/>
          </ac:picMkLst>
        </pc:picChg>
        <pc:picChg chg="add mod">
          <ac:chgData name="Prolay Ghosh" userId="b7af4a88-195a-4c77-9339-a13732cd096f" providerId="ADAL" clId="{3625CD61-9FE5-4276-9799-D1F011D1F900}" dt="2021-06-15T08:43:41.728" v="479" actId="1076"/>
          <ac:picMkLst>
            <pc:docMk/>
            <pc:sldMk cId="969161395" sldId="20975"/>
            <ac:picMk id="142" creationId="{13DB09AB-6415-47CA-8837-C0E9B1AE0E04}"/>
          </ac:picMkLst>
        </pc:picChg>
        <pc:picChg chg="add mod">
          <ac:chgData name="Prolay Ghosh" userId="b7af4a88-195a-4c77-9339-a13732cd096f" providerId="ADAL" clId="{3625CD61-9FE5-4276-9799-D1F011D1F900}" dt="2021-06-15T08:43:41.728" v="479" actId="1076"/>
          <ac:picMkLst>
            <pc:docMk/>
            <pc:sldMk cId="969161395" sldId="20975"/>
            <ac:picMk id="143" creationId="{48C11283-0C54-4809-B543-C3EA5185DD82}"/>
          </ac:picMkLst>
        </pc:picChg>
        <pc:picChg chg="add mod">
          <ac:chgData name="Prolay Ghosh" userId="b7af4a88-195a-4c77-9339-a13732cd096f" providerId="ADAL" clId="{3625CD61-9FE5-4276-9799-D1F011D1F900}" dt="2021-06-15T08:43:41.728" v="479" actId="1076"/>
          <ac:picMkLst>
            <pc:docMk/>
            <pc:sldMk cId="969161395" sldId="20975"/>
            <ac:picMk id="144" creationId="{233C82A8-854F-4B67-B86F-F97F7D748948}"/>
          </ac:picMkLst>
        </pc:picChg>
        <pc:picChg chg="add mod">
          <ac:chgData name="Prolay Ghosh" userId="b7af4a88-195a-4c77-9339-a13732cd096f" providerId="ADAL" clId="{3625CD61-9FE5-4276-9799-D1F011D1F900}" dt="2021-06-15T08:43:41.728" v="479" actId="1076"/>
          <ac:picMkLst>
            <pc:docMk/>
            <pc:sldMk cId="969161395" sldId="20975"/>
            <ac:picMk id="145" creationId="{89F1FBE3-9133-4F10-BD88-E99EB094FA40}"/>
          </ac:picMkLst>
        </pc:picChg>
        <pc:picChg chg="add mod">
          <ac:chgData name="Prolay Ghosh" userId="b7af4a88-195a-4c77-9339-a13732cd096f" providerId="ADAL" clId="{3625CD61-9FE5-4276-9799-D1F011D1F900}" dt="2021-06-15T08:43:41.728" v="479" actId="1076"/>
          <ac:picMkLst>
            <pc:docMk/>
            <pc:sldMk cId="969161395" sldId="20975"/>
            <ac:picMk id="146" creationId="{B7D32637-EAE4-4894-B4EC-11694D1F02B9}"/>
          </ac:picMkLst>
        </pc:picChg>
        <pc:picChg chg="add mod">
          <ac:chgData name="Prolay Ghosh" userId="b7af4a88-195a-4c77-9339-a13732cd096f" providerId="ADAL" clId="{3625CD61-9FE5-4276-9799-D1F011D1F900}" dt="2021-06-15T08:43:41.728" v="479" actId="1076"/>
          <ac:picMkLst>
            <pc:docMk/>
            <pc:sldMk cId="969161395" sldId="20975"/>
            <ac:picMk id="147" creationId="{7208170F-6335-44D8-B476-BB7B55CBBA95}"/>
          </ac:picMkLst>
        </pc:picChg>
        <pc:picChg chg="add mod">
          <ac:chgData name="Prolay Ghosh" userId="b7af4a88-195a-4c77-9339-a13732cd096f" providerId="ADAL" clId="{3625CD61-9FE5-4276-9799-D1F011D1F900}" dt="2021-06-15T08:43:41.728" v="479" actId="1076"/>
          <ac:picMkLst>
            <pc:docMk/>
            <pc:sldMk cId="969161395" sldId="20975"/>
            <ac:picMk id="148" creationId="{63901B9D-4AC3-48D1-8CCA-FEA6BA70C0C6}"/>
          </ac:picMkLst>
        </pc:picChg>
        <pc:picChg chg="add mod">
          <ac:chgData name="Prolay Ghosh" userId="b7af4a88-195a-4c77-9339-a13732cd096f" providerId="ADAL" clId="{3625CD61-9FE5-4276-9799-D1F011D1F900}" dt="2021-06-15T08:43:41.728" v="479" actId="1076"/>
          <ac:picMkLst>
            <pc:docMk/>
            <pc:sldMk cId="969161395" sldId="20975"/>
            <ac:picMk id="149" creationId="{A6767B7C-E7D5-46BB-B798-D8F583E3187A}"/>
          </ac:picMkLst>
        </pc:picChg>
        <pc:picChg chg="add mod">
          <ac:chgData name="Prolay Ghosh" userId="b7af4a88-195a-4c77-9339-a13732cd096f" providerId="ADAL" clId="{3625CD61-9FE5-4276-9799-D1F011D1F900}" dt="2021-06-15T08:43:41.728" v="479" actId="1076"/>
          <ac:picMkLst>
            <pc:docMk/>
            <pc:sldMk cId="969161395" sldId="20975"/>
            <ac:picMk id="150" creationId="{FA2EB8F5-DFDF-4B85-A4A0-292B78C55960}"/>
          </ac:picMkLst>
        </pc:picChg>
        <pc:picChg chg="add mod">
          <ac:chgData name="Prolay Ghosh" userId="b7af4a88-195a-4c77-9339-a13732cd096f" providerId="ADAL" clId="{3625CD61-9FE5-4276-9799-D1F011D1F900}" dt="2021-06-15T08:43:41.728" v="479" actId="1076"/>
          <ac:picMkLst>
            <pc:docMk/>
            <pc:sldMk cId="969161395" sldId="20975"/>
            <ac:picMk id="151" creationId="{E95DA290-CABD-4060-A63E-C4E7D5A1FBC0}"/>
          </ac:picMkLst>
        </pc:picChg>
        <pc:picChg chg="add mod">
          <ac:chgData name="Prolay Ghosh" userId="b7af4a88-195a-4c77-9339-a13732cd096f" providerId="ADAL" clId="{3625CD61-9FE5-4276-9799-D1F011D1F900}" dt="2021-06-15T08:43:41.728" v="479" actId="1076"/>
          <ac:picMkLst>
            <pc:docMk/>
            <pc:sldMk cId="969161395" sldId="20975"/>
            <ac:picMk id="152" creationId="{F26B2304-F223-4B8A-A053-26D95A3F0CC9}"/>
          </ac:picMkLst>
        </pc:picChg>
        <pc:picChg chg="add mod">
          <ac:chgData name="Prolay Ghosh" userId="b7af4a88-195a-4c77-9339-a13732cd096f" providerId="ADAL" clId="{3625CD61-9FE5-4276-9799-D1F011D1F900}" dt="2021-06-15T08:43:46.680" v="481" actId="1076"/>
          <ac:picMkLst>
            <pc:docMk/>
            <pc:sldMk cId="969161395" sldId="20975"/>
            <ac:picMk id="153" creationId="{837E2BAD-6787-40FF-84BB-8A0878081114}"/>
          </ac:picMkLst>
        </pc:picChg>
        <pc:picChg chg="add mod">
          <ac:chgData name="Prolay Ghosh" userId="b7af4a88-195a-4c77-9339-a13732cd096f" providerId="ADAL" clId="{3625CD61-9FE5-4276-9799-D1F011D1F900}" dt="2021-06-15T08:43:46.680" v="481" actId="1076"/>
          <ac:picMkLst>
            <pc:docMk/>
            <pc:sldMk cId="969161395" sldId="20975"/>
            <ac:picMk id="154" creationId="{0E266174-17F7-4552-B516-935FCD313F36}"/>
          </ac:picMkLst>
        </pc:picChg>
        <pc:picChg chg="add mod">
          <ac:chgData name="Prolay Ghosh" userId="b7af4a88-195a-4c77-9339-a13732cd096f" providerId="ADAL" clId="{3625CD61-9FE5-4276-9799-D1F011D1F900}" dt="2021-06-15T08:43:46.680" v="481" actId="1076"/>
          <ac:picMkLst>
            <pc:docMk/>
            <pc:sldMk cId="969161395" sldId="20975"/>
            <ac:picMk id="155" creationId="{3E9A4F97-9703-488F-8C67-D806F67225DB}"/>
          </ac:picMkLst>
        </pc:picChg>
        <pc:picChg chg="add mod">
          <ac:chgData name="Prolay Ghosh" userId="b7af4a88-195a-4c77-9339-a13732cd096f" providerId="ADAL" clId="{3625CD61-9FE5-4276-9799-D1F011D1F900}" dt="2021-06-15T08:43:46.680" v="481" actId="1076"/>
          <ac:picMkLst>
            <pc:docMk/>
            <pc:sldMk cId="969161395" sldId="20975"/>
            <ac:picMk id="156" creationId="{F5FD2DEA-A997-424C-BAAC-F9793D84F3F3}"/>
          </ac:picMkLst>
        </pc:picChg>
        <pc:picChg chg="add mod">
          <ac:chgData name="Prolay Ghosh" userId="b7af4a88-195a-4c77-9339-a13732cd096f" providerId="ADAL" clId="{3625CD61-9FE5-4276-9799-D1F011D1F900}" dt="2021-06-15T08:43:46.680" v="481" actId="1076"/>
          <ac:picMkLst>
            <pc:docMk/>
            <pc:sldMk cId="969161395" sldId="20975"/>
            <ac:picMk id="157" creationId="{5A7DC0F3-EAC3-42C8-8735-15AEE43B1D82}"/>
          </ac:picMkLst>
        </pc:picChg>
        <pc:picChg chg="add mod">
          <ac:chgData name="Prolay Ghosh" userId="b7af4a88-195a-4c77-9339-a13732cd096f" providerId="ADAL" clId="{3625CD61-9FE5-4276-9799-D1F011D1F900}" dt="2021-06-15T08:43:46.680" v="481" actId="1076"/>
          <ac:picMkLst>
            <pc:docMk/>
            <pc:sldMk cId="969161395" sldId="20975"/>
            <ac:picMk id="158" creationId="{DDB8570D-4D45-4990-AE09-AEA982BB8A7D}"/>
          </ac:picMkLst>
        </pc:picChg>
        <pc:picChg chg="add mod">
          <ac:chgData name="Prolay Ghosh" userId="b7af4a88-195a-4c77-9339-a13732cd096f" providerId="ADAL" clId="{3625CD61-9FE5-4276-9799-D1F011D1F900}" dt="2021-06-15T08:43:46.680" v="481" actId="1076"/>
          <ac:picMkLst>
            <pc:docMk/>
            <pc:sldMk cId="969161395" sldId="20975"/>
            <ac:picMk id="159" creationId="{CB5BA8DE-C749-45C6-AD54-3F0DD743052B}"/>
          </ac:picMkLst>
        </pc:picChg>
        <pc:picChg chg="add mod">
          <ac:chgData name="Prolay Ghosh" userId="b7af4a88-195a-4c77-9339-a13732cd096f" providerId="ADAL" clId="{3625CD61-9FE5-4276-9799-D1F011D1F900}" dt="2021-06-15T08:43:46.680" v="481" actId="1076"/>
          <ac:picMkLst>
            <pc:docMk/>
            <pc:sldMk cId="969161395" sldId="20975"/>
            <ac:picMk id="160" creationId="{8016B19B-A54A-485D-8142-A098DF5423E6}"/>
          </ac:picMkLst>
        </pc:picChg>
        <pc:picChg chg="add mod">
          <ac:chgData name="Prolay Ghosh" userId="b7af4a88-195a-4c77-9339-a13732cd096f" providerId="ADAL" clId="{3625CD61-9FE5-4276-9799-D1F011D1F900}" dt="2021-06-15T08:43:46.680" v="481" actId="1076"/>
          <ac:picMkLst>
            <pc:docMk/>
            <pc:sldMk cId="969161395" sldId="20975"/>
            <ac:picMk id="161" creationId="{AEEBB760-AF85-4F4A-BE00-C7E08FA92F47}"/>
          </ac:picMkLst>
        </pc:picChg>
        <pc:picChg chg="add mod">
          <ac:chgData name="Prolay Ghosh" userId="b7af4a88-195a-4c77-9339-a13732cd096f" providerId="ADAL" clId="{3625CD61-9FE5-4276-9799-D1F011D1F900}" dt="2021-06-15T08:43:46.680" v="481" actId="1076"/>
          <ac:picMkLst>
            <pc:docMk/>
            <pc:sldMk cId="969161395" sldId="20975"/>
            <ac:picMk id="162" creationId="{97FFA876-FF85-48A9-A766-54A6E26D209D}"/>
          </ac:picMkLst>
        </pc:picChg>
        <pc:picChg chg="add mod">
          <ac:chgData name="Prolay Ghosh" userId="b7af4a88-195a-4c77-9339-a13732cd096f" providerId="ADAL" clId="{3625CD61-9FE5-4276-9799-D1F011D1F900}" dt="2021-06-15T08:43:46.680" v="481" actId="1076"/>
          <ac:picMkLst>
            <pc:docMk/>
            <pc:sldMk cId="969161395" sldId="20975"/>
            <ac:picMk id="163" creationId="{93C92707-07FE-47ED-8518-D45210082BEA}"/>
          </ac:picMkLst>
        </pc:picChg>
        <pc:picChg chg="add mod">
          <ac:chgData name="Prolay Ghosh" userId="b7af4a88-195a-4c77-9339-a13732cd096f" providerId="ADAL" clId="{3625CD61-9FE5-4276-9799-D1F011D1F900}" dt="2021-06-15T08:43:46.680" v="481" actId="1076"/>
          <ac:picMkLst>
            <pc:docMk/>
            <pc:sldMk cId="969161395" sldId="20975"/>
            <ac:picMk id="164" creationId="{4D1EF17C-E9C3-403A-BC45-ACB950F3F3AC}"/>
          </ac:picMkLst>
        </pc:picChg>
        <pc:picChg chg="add mod">
          <ac:chgData name="Prolay Ghosh" userId="b7af4a88-195a-4c77-9339-a13732cd096f" providerId="ADAL" clId="{3625CD61-9FE5-4276-9799-D1F011D1F900}" dt="2021-06-15T08:43:51.354" v="483" actId="1076"/>
          <ac:picMkLst>
            <pc:docMk/>
            <pc:sldMk cId="969161395" sldId="20975"/>
            <ac:picMk id="165" creationId="{06423ACD-4F2F-4290-A594-D7EDD7F6161F}"/>
          </ac:picMkLst>
        </pc:picChg>
        <pc:picChg chg="add mod">
          <ac:chgData name="Prolay Ghosh" userId="b7af4a88-195a-4c77-9339-a13732cd096f" providerId="ADAL" clId="{3625CD61-9FE5-4276-9799-D1F011D1F900}" dt="2021-06-15T08:43:51.354" v="483" actId="1076"/>
          <ac:picMkLst>
            <pc:docMk/>
            <pc:sldMk cId="969161395" sldId="20975"/>
            <ac:picMk id="166" creationId="{2F055129-8E42-4664-AF5F-194DE79B3458}"/>
          </ac:picMkLst>
        </pc:picChg>
        <pc:picChg chg="add mod">
          <ac:chgData name="Prolay Ghosh" userId="b7af4a88-195a-4c77-9339-a13732cd096f" providerId="ADAL" clId="{3625CD61-9FE5-4276-9799-D1F011D1F900}" dt="2021-06-15T08:43:51.354" v="483" actId="1076"/>
          <ac:picMkLst>
            <pc:docMk/>
            <pc:sldMk cId="969161395" sldId="20975"/>
            <ac:picMk id="167" creationId="{48E56A2B-372C-4B25-AAAB-0432681C78DA}"/>
          </ac:picMkLst>
        </pc:picChg>
        <pc:picChg chg="add mod">
          <ac:chgData name="Prolay Ghosh" userId="b7af4a88-195a-4c77-9339-a13732cd096f" providerId="ADAL" clId="{3625CD61-9FE5-4276-9799-D1F011D1F900}" dt="2021-06-15T08:43:51.354" v="483" actId="1076"/>
          <ac:picMkLst>
            <pc:docMk/>
            <pc:sldMk cId="969161395" sldId="20975"/>
            <ac:picMk id="168" creationId="{09AE8D69-7B4D-4BCE-A7E6-A919192EF274}"/>
          </ac:picMkLst>
        </pc:picChg>
        <pc:picChg chg="add mod">
          <ac:chgData name="Prolay Ghosh" userId="b7af4a88-195a-4c77-9339-a13732cd096f" providerId="ADAL" clId="{3625CD61-9FE5-4276-9799-D1F011D1F900}" dt="2021-06-15T08:43:51.354" v="483" actId="1076"/>
          <ac:picMkLst>
            <pc:docMk/>
            <pc:sldMk cId="969161395" sldId="20975"/>
            <ac:picMk id="169" creationId="{B1ABB931-5DAB-419A-B97A-AC526958B20F}"/>
          </ac:picMkLst>
        </pc:picChg>
        <pc:picChg chg="add mod">
          <ac:chgData name="Prolay Ghosh" userId="b7af4a88-195a-4c77-9339-a13732cd096f" providerId="ADAL" clId="{3625CD61-9FE5-4276-9799-D1F011D1F900}" dt="2021-06-15T08:43:51.354" v="483" actId="1076"/>
          <ac:picMkLst>
            <pc:docMk/>
            <pc:sldMk cId="969161395" sldId="20975"/>
            <ac:picMk id="170" creationId="{2A1EA181-1DC2-467D-A3D6-97A44B851A3A}"/>
          </ac:picMkLst>
        </pc:picChg>
        <pc:picChg chg="add mod">
          <ac:chgData name="Prolay Ghosh" userId="b7af4a88-195a-4c77-9339-a13732cd096f" providerId="ADAL" clId="{3625CD61-9FE5-4276-9799-D1F011D1F900}" dt="2021-06-15T08:43:51.354" v="483" actId="1076"/>
          <ac:picMkLst>
            <pc:docMk/>
            <pc:sldMk cId="969161395" sldId="20975"/>
            <ac:picMk id="171" creationId="{21FDA40C-6342-4378-9276-A9B093CF808F}"/>
          </ac:picMkLst>
        </pc:picChg>
        <pc:picChg chg="add mod">
          <ac:chgData name="Prolay Ghosh" userId="b7af4a88-195a-4c77-9339-a13732cd096f" providerId="ADAL" clId="{3625CD61-9FE5-4276-9799-D1F011D1F900}" dt="2021-06-15T08:43:51.354" v="483" actId="1076"/>
          <ac:picMkLst>
            <pc:docMk/>
            <pc:sldMk cId="969161395" sldId="20975"/>
            <ac:picMk id="172" creationId="{696AC6B0-9C13-4DAF-96B8-D7B028191236}"/>
          </ac:picMkLst>
        </pc:picChg>
        <pc:picChg chg="add mod">
          <ac:chgData name="Prolay Ghosh" userId="b7af4a88-195a-4c77-9339-a13732cd096f" providerId="ADAL" clId="{3625CD61-9FE5-4276-9799-D1F011D1F900}" dt="2021-06-15T08:43:51.354" v="483" actId="1076"/>
          <ac:picMkLst>
            <pc:docMk/>
            <pc:sldMk cId="969161395" sldId="20975"/>
            <ac:picMk id="173" creationId="{A5206483-7764-4FC5-9163-A5083F96FFED}"/>
          </ac:picMkLst>
        </pc:picChg>
        <pc:picChg chg="add mod">
          <ac:chgData name="Prolay Ghosh" userId="b7af4a88-195a-4c77-9339-a13732cd096f" providerId="ADAL" clId="{3625CD61-9FE5-4276-9799-D1F011D1F900}" dt="2021-06-15T08:43:51.354" v="483" actId="1076"/>
          <ac:picMkLst>
            <pc:docMk/>
            <pc:sldMk cId="969161395" sldId="20975"/>
            <ac:picMk id="174" creationId="{E5E0AA24-A479-4422-AFA3-7210A25E34E4}"/>
          </ac:picMkLst>
        </pc:picChg>
        <pc:picChg chg="add mod">
          <ac:chgData name="Prolay Ghosh" userId="b7af4a88-195a-4c77-9339-a13732cd096f" providerId="ADAL" clId="{3625CD61-9FE5-4276-9799-D1F011D1F900}" dt="2021-06-15T08:43:51.354" v="483" actId="1076"/>
          <ac:picMkLst>
            <pc:docMk/>
            <pc:sldMk cId="969161395" sldId="20975"/>
            <ac:picMk id="175" creationId="{42D6E456-B3CF-4504-9E33-AE38AF3FA7CE}"/>
          </ac:picMkLst>
        </pc:picChg>
        <pc:picChg chg="add mod">
          <ac:chgData name="Prolay Ghosh" userId="b7af4a88-195a-4c77-9339-a13732cd096f" providerId="ADAL" clId="{3625CD61-9FE5-4276-9799-D1F011D1F900}" dt="2021-06-15T08:43:51.354" v="483" actId="1076"/>
          <ac:picMkLst>
            <pc:docMk/>
            <pc:sldMk cId="969161395" sldId="20975"/>
            <ac:picMk id="176" creationId="{A655B51F-BBF3-4B3C-8BE2-AB5E3B110F27}"/>
          </ac:picMkLst>
        </pc:picChg>
        <pc:picChg chg="add mod">
          <ac:chgData name="Prolay Ghosh" userId="b7af4a88-195a-4c77-9339-a13732cd096f" providerId="ADAL" clId="{3625CD61-9FE5-4276-9799-D1F011D1F900}" dt="2021-06-15T08:43:56.210" v="485" actId="1076"/>
          <ac:picMkLst>
            <pc:docMk/>
            <pc:sldMk cId="969161395" sldId="20975"/>
            <ac:picMk id="177" creationId="{2712B221-D243-456E-8ACA-99EE290897B4}"/>
          </ac:picMkLst>
        </pc:picChg>
        <pc:picChg chg="add mod">
          <ac:chgData name="Prolay Ghosh" userId="b7af4a88-195a-4c77-9339-a13732cd096f" providerId="ADAL" clId="{3625CD61-9FE5-4276-9799-D1F011D1F900}" dt="2021-06-15T08:43:56.210" v="485" actId="1076"/>
          <ac:picMkLst>
            <pc:docMk/>
            <pc:sldMk cId="969161395" sldId="20975"/>
            <ac:picMk id="178" creationId="{7B82BB2A-8F73-4474-8D2C-8D62593742EF}"/>
          </ac:picMkLst>
        </pc:picChg>
        <pc:picChg chg="add mod">
          <ac:chgData name="Prolay Ghosh" userId="b7af4a88-195a-4c77-9339-a13732cd096f" providerId="ADAL" clId="{3625CD61-9FE5-4276-9799-D1F011D1F900}" dt="2021-06-15T08:43:56.210" v="485" actId="1076"/>
          <ac:picMkLst>
            <pc:docMk/>
            <pc:sldMk cId="969161395" sldId="20975"/>
            <ac:picMk id="179" creationId="{00E9F4DD-5AA7-4C03-81B1-93A21C42A099}"/>
          </ac:picMkLst>
        </pc:picChg>
        <pc:picChg chg="add mod">
          <ac:chgData name="Prolay Ghosh" userId="b7af4a88-195a-4c77-9339-a13732cd096f" providerId="ADAL" clId="{3625CD61-9FE5-4276-9799-D1F011D1F900}" dt="2021-06-15T08:43:56.210" v="485" actId="1076"/>
          <ac:picMkLst>
            <pc:docMk/>
            <pc:sldMk cId="969161395" sldId="20975"/>
            <ac:picMk id="180" creationId="{10018AB0-DB9C-4B40-B88B-E2658AB1ED9E}"/>
          </ac:picMkLst>
        </pc:picChg>
        <pc:picChg chg="add mod">
          <ac:chgData name="Prolay Ghosh" userId="b7af4a88-195a-4c77-9339-a13732cd096f" providerId="ADAL" clId="{3625CD61-9FE5-4276-9799-D1F011D1F900}" dt="2021-06-15T08:43:56.210" v="485" actId="1076"/>
          <ac:picMkLst>
            <pc:docMk/>
            <pc:sldMk cId="969161395" sldId="20975"/>
            <ac:picMk id="181" creationId="{BFBD6AF8-2BC9-4412-A968-603C7E1970CC}"/>
          </ac:picMkLst>
        </pc:picChg>
        <pc:picChg chg="add mod">
          <ac:chgData name="Prolay Ghosh" userId="b7af4a88-195a-4c77-9339-a13732cd096f" providerId="ADAL" clId="{3625CD61-9FE5-4276-9799-D1F011D1F900}" dt="2021-06-15T08:43:56.210" v="485" actId="1076"/>
          <ac:picMkLst>
            <pc:docMk/>
            <pc:sldMk cId="969161395" sldId="20975"/>
            <ac:picMk id="182" creationId="{2B384088-B6B2-4F1E-A67C-663BB9B8B4B9}"/>
          </ac:picMkLst>
        </pc:picChg>
        <pc:picChg chg="add mod">
          <ac:chgData name="Prolay Ghosh" userId="b7af4a88-195a-4c77-9339-a13732cd096f" providerId="ADAL" clId="{3625CD61-9FE5-4276-9799-D1F011D1F900}" dt="2021-06-15T08:43:56.210" v="485" actId="1076"/>
          <ac:picMkLst>
            <pc:docMk/>
            <pc:sldMk cId="969161395" sldId="20975"/>
            <ac:picMk id="183" creationId="{DBB508B1-4344-479F-95F4-F7141FBE5C9B}"/>
          </ac:picMkLst>
        </pc:picChg>
        <pc:picChg chg="add mod">
          <ac:chgData name="Prolay Ghosh" userId="b7af4a88-195a-4c77-9339-a13732cd096f" providerId="ADAL" clId="{3625CD61-9FE5-4276-9799-D1F011D1F900}" dt="2021-06-15T08:43:56.210" v="485" actId="1076"/>
          <ac:picMkLst>
            <pc:docMk/>
            <pc:sldMk cId="969161395" sldId="20975"/>
            <ac:picMk id="184" creationId="{482EE817-5762-4377-8247-1EB2033C9885}"/>
          </ac:picMkLst>
        </pc:picChg>
        <pc:picChg chg="add mod">
          <ac:chgData name="Prolay Ghosh" userId="b7af4a88-195a-4c77-9339-a13732cd096f" providerId="ADAL" clId="{3625CD61-9FE5-4276-9799-D1F011D1F900}" dt="2021-06-15T08:43:56.210" v="485" actId="1076"/>
          <ac:picMkLst>
            <pc:docMk/>
            <pc:sldMk cId="969161395" sldId="20975"/>
            <ac:picMk id="185" creationId="{A9C44791-8E2E-4C2C-95AC-37BEBE119FE9}"/>
          </ac:picMkLst>
        </pc:picChg>
        <pc:picChg chg="add mod">
          <ac:chgData name="Prolay Ghosh" userId="b7af4a88-195a-4c77-9339-a13732cd096f" providerId="ADAL" clId="{3625CD61-9FE5-4276-9799-D1F011D1F900}" dt="2021-06-15T08:43:56.210" v="485" actId="1076"/>
          <ac:picMkLst>
            <pc:docMk/>
            <pc:sldMk cId="969161395" sldId="20975"/>
            <ac:picMk id="186" creationId="{7CD13AF0-25BF-449B-9ED9-C3E2420184AD}"/>
          </ac:picMkLst>
        </pc:picChg>
        <pc:picChg chg="add mod">
          <ac:chgData name="Prolay Ghosh" userId="b7af4a88-195a-4c77-9339-a13732cd096f" providerId="ADAL" clId="{3625CD61-9FE5-4276-9799-D1F011D1F900}" dt="2021-06-15T08:43:56.210" v="485" actId="1076"/>
          <ac:picMkLst>
            <pc:docMk/>
            <pc:sldMk cId="969161395" sldId="20975"/>
            <ac:picMk id="187" creationId="{2D4DEEC0-D66D-417A-8E89-9D1A608547BF}"/>
          </ac:picMkLst>
        </pc:picChg>
        <pc:picChg chg="add mod">
          <ac:chgData name="Prolay Ghosh" userId="b7af4a88-195a-4c77-9339-a13732cd096f" providerId="ADAL" clId="{3625CD61-9FE5-4276-9799-D1F011D1F900}" dt="2021-06-15T08:43:56.210" v="485" actId="1076"/>
          <ac:picMkLst>
            <pc:docMk/>
            <pc:sldMk cId="969161395" sldId="20975"/>
            <ac:picMk id="188" creationId="{2687CA94-EEEA-487E-AFE7-C3ED81CD2794}"/>
          </ac:picMkLst>
        </pc:picChg>
      </pc:sldChg>
      <pc:sldChg chg="addSp delSp modSp add">
        <pc:chgData name="Prolay Ghosh" userId="b7af4a88-195a-4c77-9339-a13732cd096f" providerId="ADAL" clId="{3625CD61-9FE5-4276-9799-D1F011D1F900}" dt="2021-06-15T09:00:13.157" v="613" actId="20577"/>
        <pc:sldMkLst>
          <pc:docMk/>
          <pc:sldMk cId="4018166022" sldId="20976"/>
        </pc:sldMkLst>
        <pc:spChg chg="mod">
          <ac:chgData name="Prolay Ghosh" userId="b7af4a88-195a-4c77-9339-a13732cd096f" providerId="ADAL" clId="{3625CD61-9FE5-4276-9799-D1F011D1F900}" dt="2021-06-15T08:56:24.235" v="526" actId="20577"/>
          <ac:spMkLst>
            <pc:docMk/>
            <pc:sldMk cId="4018166022" sldId="20976"/>
            <ac:spMk id="3" creationId="{627520A6-510D-4A36-91C0-951D65962E3D}"/>
          </ac:spMkLst>
        </pc:spChg>
        <pc:spChg chg="add mod ord">
          <ac:chgData name="Prolay Ghosh" userId="b7af4a88-195a-4c77-9339-a13732cd096f" providerId="ADAL" clId="{3625CD61-9FE5-4276-9799-D1F011D1F900}" dt="2021-06-15T08:58:29.457" v="545" actId="1076"/>
          <ac:spMkLst>
            <pc:docMk/>
            <pc:sldMk cId="4018166022" sldId="20976"/>
            <ac:spMk id="13" creationId="{239AA915-84CC-44BF-A144-685A3B09C816}"/>
          </ac:spMkLst>
        </pc:spChg>
        <pc:spChg chg="add mod">
          <ac:chgData name="Prolay Ghosh" userId="b7af4a88-195a-4c77-9339-a13732cd096f" providerId="ADAL" clId="{3625CD61-9FE5-4276-9799-D1F011D1F900}" dt="2021-06-15T09:00:13.157" v="613" actId="20577"/>
          <ac:spMkLst>
            <pc:docMk/>
            <pc:sldMk cId="4018166022" sldId="20976"/>
            <ac:spMk id="14" creationId="{E8A22E53-C8FA-4977-8D2E-06DE9813367C}"/>
          </ac:spMkLst>
        </pc:spChg>
        <pc:spChg chg="add mod">
          <ac:chgData name="Prolay Ghosh" userId="b7af4a88-195a-4c77-9339-a13732cd096f" providerId="ADAL" clId="{3625CD61-9FE5-4276-9799-D1F011D1F900}" dt="2021-06-15T08:59:39.303" v="592" actId="14100"/>
          <ac:spMkLst>
            <pc:docMk/>
            <pc:sldMk cId="4018166022" sldId="20976"/>
            <ac:spMk id="191" creationId="{C0BC6A5C-D5D6-4BF5-9C26-1304C83907F2}"/>
          </ac:spMkLst>
        </pc:spChg>
        <pc:spChg chg="add mod">
          <ac:chgData name="Prolay Ghosh" userId="b7af4a88-195a-4c77-9339-a13732cd096f" providerId="ADAL" clId="{3625CD61-9FE5-4276-9799-D1F011D1F900}" dt="2021-06-15T09:00:03.129" v="605" actId="20577"/>
          <ac:spMkLst>
            <pc:docMk/>
            <pc:sldMk cId="4018166022" sldId="20976"/>
            <ac:spMk id="193" creationId="{474F1082-6531-49DA-A360-F430B9726853}"/>
          </ac:spMkLst>
        </pc:spChg>
        <pc:graphicFrameChg chg="del modGraphic">
          <ac:chgData name="Prolay Ghosh" userId="b7af4a88-195a-4c77-9339-a13732cd096f" providerId="ADAL" clId="{3625CD61-9FE5-4276-9799-D1F011D1F900}" dt="2021-06-15T08:47:16.935" v="495" actId="478"/>
          <ac:graphicFrameMkLst>
            <pc:docMk/>
            <pc:sldMk cId="4018166022" sldId="20976"/>
            <ac:graphicFrameMk id="4" creationId="{A267EEA9-A7E7-4D6C-B3FE-CBCC1065AC99}"/>
          </ac:graphicFrameMkLst>
        </pc:graphicFrameChg>
        <pc:picChg chg="add mod">
          <ac:chgData name="Prolay Ghosh" userId="b7af4a88-195a-4c77-9339-a13732cd096f" providerId="ADAL" clId="{3625CD61-9FE5-4276-9799-D1F011D1F900}" dt="2021-06-15T08:51:40.791" v="508" actId="14100"/>
          <ac:picMkLst>
            <pc:docMk/>
            <pc:sldMk cId="4018166022" sldId="20976"/>
            <ac:picMk id="5" creationId="{E194915D-A670-4AB9-B0F9-53DAF18BE6F7}"/>
          </ac:picMkLst>
        </pc:picChg>
        <pc:picChg chg="add del mod">
          <ac:chgData name="Prolay Ghosh" userId="b7af4a88-195a-4c77-9339-a13732cd096f" providerId="ADAL" clId="{3625CD61-9FE5-4276-9799-D1F011D1F900}" dt="2021-06-15T08:52:59.068" v="513" actId="478"/>
          <ac:picMkLst>
            <pc:docMk/>
            <pc:sldMk cId="4018166022" sldId="20976"/>
            <ac:picMk id="7" creationId="{B5393963-685B-4B54-AF98-F95C693F73BD}"/>
          </ac:picMkLst>
        </pc:picChg>
        <pc:picChg chg="del">
          <ac:chgData name="Prolay Ghosh" userId="b7af4a88-195a-4c77-9339-a13732cd096f" providerId="ADAL" clId="{3625CD61-9FE5-4276-9799-D1F011D1F900}" dt="2021-06-15T08:47:20.331" v="496" actId="478"/>
          <ac:picMkLst>
            <pc:docMk/>
            <pc:sldMk cId="4018166022" sldId="20976"/>
            <ac:picMk id="8" creationId="{4E1BFD9B-4B9A-4D22-9638-EBF62E5D9FCD}"/>
          </ac:picMkLst>
        </pc:picChg>
        <pc:picChg chg="add mod">
          <ac:chgData name="Prolay Ghosh" userId="b7af4a88-195a-4c77-9339-a13732cd096f" providerId="ADAL" clId="{3625CD61-9FE5-4276-9799-D1F011D1F900}" dt="2021-06-15T08:55:21.545" v="518" actId="1076"/>
          <ac:picMkLst>
            <pc:docMk/>
            <pc:sldMk cId="4018166022" sldId="20976"/>
            <ac:picMk id="10" creationId="{AA25A2C4-08F3-4225-B53F-F41605D7D1BE}"/>
          </ac:picMkLst>
        </pc:picChg>
        <pc:picChg chg="add mod">
          <ac:chgData name="Prolay Ghosh" userId="b7af4a88-195a-4c77-9339-a13732cd096f" providerId="ADAL" clId="{3625CD61-9FE5-4276-9799-D1F011D1F900}" dt="2021-06-15T08:58:29.457" v="545" actId="1076"/>
          <ac:picMkLst>
            <pc:docMk/>
            <pc:sldMk cId="4018166022" sldId="20976"/>
            <ac:picMk id="12" creationId="{E241AA27-C213-4416-84DF-C32006A17726}"/>
          </ac:picMkLst>
        </pc:picChg>
        <pc:picChg chg="del">
          <ac:chgData name="Prolay Ghosh" userId="b7af4a88-195a-4c77-9339-a13732cd096f" providerId="ADAL" clId="{3625CD61-9FE5-4276-9799-D1F011D1F900}" dt="2021-06-15T08:47:20.331" v="496" actId="478"/>
          <ac:picMkLst>
            <pc:docMk/>
            <pc:sldMk cId="4018166022" sldId="20976"/>
            <ac:picMk id="77" creationId="{9C03483F-0D70-4088-8EB1-9DBCA1CDDF5E}"/>
          </ac:picMkLst>
        </pc:picChg>
        <pc:picChg chg="del">
          <ac:chgData name="Prolay Ghosh" userId="b7af4a88-195a-4c77-9339-a13732cd096f" providerId="ADAL" clId="{3625CD61-9FE5-4276-9799-D1F011D1F900}" dt="2021-06-15T08:47:20.331" v="496" actId="478"/>
          <ac:picMkLst>
            <pc:docMk/>
            <pc:sldMk cId="4018166022" sldId="20976"/>
            <ac:picMk id="78" creationId="{7645E5E7-65C2-4C9C-AEE1-4E9C139F0EE9}"/>
          </ac:picMkLst>
        </pc:picChg>
        <pc:picChg chg="del">
          <ac:chgData name="Prolay Ghosh" userId="b7af4a88-195a-4c77-9339-a13732cd096f" providerId="ADAL" clId="{3625CD61-9FE5-4276-9799-D1F011D1F900}" dt="2021-06-15T08:47:20.331" v="496" actId="478"/>
          <ac:picMkLst>
            <pc:docMk/>
            <pc:sldMk cId="4018166022" sldId="20976"/>
            <ac:picMk id="79" creationId="{43D35737-D9AF-4451-88D6-050780978043}"/>
          </ac:picMkLst>
        </pc:picChg>
        <pc:picChg chg="del">
          <ac:chgData name="Prolay Ghosh" userId="b7af4a88-195a-4c77-9339-a13732cd096f" providerId="ADAL" clId="{3625CD61-9FE5-4276-9799-D1F011D1F900}" dt="2021-06-15T08:47:20.331" v="496" actId="478"/>
          <ac:picMkLst>
            <pc:docMk/>
            <pc:sldMk cId="4018166022" sldId="20976"/>
            <ac:picMk id="80" creationId="{54289129-BBDB-4A4B-9EFD-1146C1B6D292}"/>
          </ac:picMkLst>
        </pc:picChg>
        <pc:picChg chg="del">
          <ac:chgData name="Prolay Ghosh" userId="b7af4a88-195a-4c77-9339-a13732cd096f" providerId="ADAL" clId="{3625CD61-9FE5-4276-9799-D1F011D1F900}" dt="2021-06-15T08:47:20.331" v="496" actId="478"/>
          <ac:picMkLst>
            <pc:docMk/>
            <pc:sldMk cId="4018166022" sldId="20976"/>
            <ac:picMk id="81" creationId="{B40FE5A0-800D-4A01-BE6B-84365F5CA44E}"/>
          </ac:picMkLst>
        </pc:picChg>
        <pc:picChg chg="del">
          <ac:chgData name="Prolay Ghosh" userId="b7af4a88-195a-4c77-9339-a13732cd096f" providerId="ADAL" clId="{3625CD61-9FE5-4276-9799-D1F011D1F900}" dt="2021-06-15T08:47:20.331" v="496" actId="478"/>
          <ac:picMkLst>
            <pc:docMk/>
            <pc:sldMk cId="4018166022" sldId="20976"/>
            <ac:picMk id="82" creationId="{FF08330E-BCB5-437F-A0F3-F6280ED5B678}"/>
          </ac:picMkLst>
        </pc:picChg>
        <pc:picChg chg="del">
          <ac:chgData name="Prolay Ghosh" userId="b7af4a88-195a-4c77-9339-a13732cd096f" providerId="ADAL" clId="{3625CD61-9FE5-4276-9799-D1F011D1F900}" dt="2021-06-15T08:47:20.331" v="496" actId="478"/>
          <ac:picMkLst>
            <pc:docMk/>
            <pc:sldMk cId="4018166022" sldId="20976"/>
            <ac:picMk id="84" creationId="{697618DD-A4ED-44D0-A796-C5D316903457}"/>
          </ac:picMkLst>
        </pc:picChg>
        <pc:picChg chg="del">
          <ac:chgData name="Prolay Ghosh" userId="b7af4a88-195a-4c77-9339-a13732cd096f" providerId="ADAL" clId="{3625CD61-9FE5-4276-9799-D1F011D1F900}" dt="2021-06-15T08:47:20.331" v="496" actId="478"/>
          <ac:picMkLst>
            <pc:docMk/>
            <pc:sldMk cId="4018166022" sldId="20976"/>
            <ac:picMk id="85" creationId="{81CFBE54-7DA6-458D-B374-6921D285BA34}"/>
          </ac:picMkLst>
        </pc:picChg>
        <pc:picChg chg="del">
          <ac:chgData name="Prolay Ghosh" userId="b7af4a88-195a-4c77-9339-a13732cd096f" providerId="ADAL" clId="{3625CD61-9FE5-4276-9799-D1F011D1F900}" dt="2021-06-15T08:47:20.331" v="496" actId="478"/>
          <ac:picMkLst>
            <pc:docMk/>
            <pc:sldMk cId="4018166022" sldId="20976"/>
            <ac:picMk id="86" creationId="{44C03890-2ABF-447D-9F55-BC0690B10A43}"/>
          </ac:picMkLst>
        </pc:picChg>
        <pc:picChg chg="del">
          <ac:chgData name="Prolay Ghosh" userId="b7af4a88-195a-4c77-9339-a13732cd096f" providerId="ADAL" clId="{3625CD61-9FE5-4276-9799-D1F011D1F900}" dt="2021-06-15T08:47:20.331" v="496" actId="478"/>
          <ac:picMkLst>
            <pc:docMk/>
            <pc:sldMk cId="4018166022" sldId="20976"/>
            <ac:picMk id="88" creationId="{3239978A-712A-4F4C-A8EE-D07692704987}"/>
          </ac:picMkLst>
        </pc:picChg>
        <pc:picChg chg="del">
          <ac:chgData name="Prolay Ghosh" userId="b7af4a88-195a-4c77-9339-a13732cd096f" providerId="ADAL" clId="{3625CD61-9FE5-4276-9799-D1F011D1F900}" dt="2021-06-15T08:47:20.331" v="496" actId="478"/>
          <ac:picMkLst>
            <pc:docMk/>
            <pc:sldMk cId="4018166022" sldId="20976"/>
            <ac:picMk id="92" creationId="{C9E6BBC3-1553-4427-9618-B773FEE8BBA0}"/>
          </ac:picMkLst>
        </pc:picChg>
        <pc:picChg chg="del">
          <ac:chgData name="Prolay Ghosh" userId="b7af4a88-195a-4c77-9339-a13732cd096f" providerId="ADAL" clId="{3625CD61-9FE5-4276-9799-D1F011D1F900}" dt="2021-06-15T08:47:20.331" v="496" actId="478"/>
          <ac:picMkLst>
            <pc:docMk/>
            <pc:sldMk cId="4018166022" sldId="20976"/>
            <ac:picMk id="93" creationId="{DCFE6190-CDE0-4056-8260-FAB5B8B479AD}"/>
          </ac:picMkLst>
        </pc:picChg>
        <pc:picChg chg="del">
          <ac:chgData name="Prolay Ghosh" userId="b7af4a88-195a-4c77-9339-a13732cd096f" providerId="ADAL" clId="{3625CD61-9FE5-4276-9799-D1F011D1F900}" dt="2021-06-15T08:47:20.331" v="496" actId="478"/>
          <ac:picMkLst>
            <pc:docMk/>
            <pc:sldMk cId="4018166022" sldId="20976"/>
            <ac:picMk id="94" creationId="{8711A061-718D-48DF-83C6-F62513F52940}"/>
          </ac:picMkLst>
        </pc:picChg>
        <pc:picChg chg="del">
          <ac:chgData name="Prolay Ghosh" userId="b7af4a88-195a-4c77-9339-a13732cd096f" providerId="ADAL" clId="{3625CD61-9FE5-4276-9799-D1F011D1F900}" dt="2021-06-15T08:47:20.331" v="496" actId="478"/>
          <ac:picMkLst>
            <pc:docMk/>
            <pc:sldMk cId="4018166022" sldId="20976"/>
            <ac:picMk id="95" creationId="{FF94691E-E522-49D4-AB1A-3FBDB4ADDBBE}"/>
          </ac:picMkLst>
        </pc:picChg>
        <pc:picChg chg="del">
          <ac:chgData name="Prolay Ghosh" userId="b7af4a88-195a-4c77-9339-a13732cd096f" providerId="ADAL" clId="{3625CD61-9FE5-4276-9799-D1F011D1F900}" dt="2021-06-15T08:47:20.331" v="496" actId="478"/>
          <ac:picMkLst>
            <pc:docMk/>
            <pc:sldMk cId="4018166022" sldId="20976"/>
            <ac:picMk id="96" creationId="{5FA87187-E0D0-4344-9205-8259087A0B88}"/>
          </ac:picMkLst>
        </pc:picChg>
        <pc:picChg chg="del">
          <ac:chgData name="Prolay Ghosh" userId="b7af4a88-195a-4c77-9339-a13732cd096f" providerId="ADAL" clId="{3625CD61-9FE5-4276-9799-D1F011D1F900}" dt="2021-06-15T08:47:20.331" v="496" actId="478"/>
          <ac:picMkLst>
            <pc:docMk/>
            <pc:sldMk cId="4018166022" sldId="20976"/>
            <ac:picMk id="97" creationId="{7EDF84A3-D9F9-45C6-A690-2C418BB85F13}"/>
          </ac:picMkLst>
        </pc:picChg>
        <pc:picChg chg="del">
          <ac:chgData name="Prolay Ghosh" userId="b7af4a88-195a-4c77-9339-a13732cd096f" providerId="ADAL" clId="{3625CD61-9FE5-4276-9799-D1F011D1F900}" dt="2021-06-15T08:47:20.331" v="496" actId="478"/>
          <ac:picMkLst>
            <pc:docMk/>
            <pc:sldMk cId="4018166022" sldId="20976"/>
            <ac:picMk id="98" creationId="{6DE7D3BD-3F1D-4542-92D6-F52AE6FA5513}"/>
          </ac:picMkLst>
        </pc:picChg>
        <pc:picChg chg="del">
          <ac:chgData name="Prolay Ghosh" userId="b7af4a88-195a-4c77-9339-a13732cd096f" providerId="ADAL" clId="{3625CD61-9FE5-4276-9799-D1F011D1F900}" dt="2021-06-15T08:47:20.331" v="496" actId="478"/>
          <ac:picMkLst>
            <pc:docMk/>
            <pc:sldMk cId="4018166022" sldId="20976"/>
            <ac:picMk id="99" creationId="{11E4AA52-493E-4E26-BBE3-388EE08FF4E5}"/>
          </ac:picMkLst>
        </pc:picChg>
        <pc:picChg chg="del">
          <ac:chgData name="Prolay Ghosh" userId="b7af4a88-195a-4c77-9339-a13732cd096f" providerId="ADAL" clId="{3625CD61-9FE5-4276-9799-D1F011D1F900}" dt="2021-06-15T08:47:20.331" v="496" actId="478"/>
          <ac:picMkLst>
            <pc:docMk/>
            <pc:sldMk cId="4018166022" sldId="20976"/>
            <ac:picMk id="100" creationId="{B8C66994-9EED-495B-BAB7-9E112A9E5681}"/>
          </ac:picMkLst>
        </pc:picChg>
        <pc:picChg chg="del">
          <ac:chgData name="Prolay Ghosh" userId="b7af4a88-195a-4c77-9339-a13732cd096f" providerId="ADAL" clId="{3625CD61-9FE5-4276-9799-D1F011D1F900}" dt="2021-06-15T08:47:20.331" v="496" actId="478"/>
          <ac:picMkLst>
            <pc:docMk/>
            <pc:sldMk cId="4018166022" sldId="20976"/>
            <ac:picMk id="101" creationId="{CF2FA9D2-1A2B-436D-9531-DA25B4698780}"/>
          </ac:picMkLst>
        </pc:picChg>
        <pc:picChg chg="del">
          <ac:chgData name="Prolay Ghosh" userId="b7af4a88-195a-4c77-9339-a13732cd096f" providerId="ADAL" clId="{3625CD61-9FE5-4276-9799-D1F011D1F900}" dt="2021-06-15T08:47:20.331" v="496" actId="478"/>
          <ac:picMkLst>
            <pc:docMk/>
            <pc:sldMk cId="4018166022" sldId="20976"/>
            <ac:picMk id="102" creationId="{3E9C01EE-4A48-4D20-9B53-168C5DE56856}"/>
          </ac:picMkLst>
        </pc:picChg>
        <pc:picChg chg="del">
          <ac:chgData name="Prolay Ghosh" userId="b7af4a88-195a-4c77-9339-a13732cd096f" providerId="ADAL" clId="{3625CD61-9FE5-4276-9799-D1F011D1F900}" dt="2021-06-15T08:47:20.331" v="496" actId="478"/>
          <ac:picMkLst>
            <pc:docMk/>
            <pc:sldMk cId="4018166022" sldId="20976"/>
            <ac:picMk id="103" creationId="{FE53F199-AC6B-429B-AD14-E1CFAC866B59}"/>
          </ac:picMkLst>
        </pc:picChg>
        <pc:picChg chg="del">
          <ac:chgData name="Prolay Ghosh" userId="b7af4a88-195a-4c77-9339-a13732cd096f" providerId="ADAL" clId="{3625CD61-9FE5-4276-9799-D1F011D1F900}" dt="2021-06-15T08:47:20.331" v="496" actId="478"/>
          <ac:picMkLst>
            <pc:docMk/>
            <pc:sldMk cId="4018166022" sldId="20976"/>
            <ac:picMk id="104" creationId="{06E97BCD-01AA-4168-ACFD-A800665C58FB}"/>
          </ac:picMkLst>
        </pc:picChg>
        <pc:picChg chg="del">
          <ac:chgData name="Prolay Ghosh" userId="b7af4a88-195a-4c77-9339-a13732cd096f" providerId="ADAL" clId="{3625CD61-9FE5-4276-9799-D1F011D1F900}" dt="2021-06-15T08:47:20.331" v="496" actId="478"/>
          <ac:picMkLst>
            <pc:docMk/>
            <pc:sldMk cId="4018166022" sldId="20976"/>
            <ac:picMk id="105" creationId="{8D11CB5F-7BAF-4978-907C-826550EC0373}"/>
          </ac:picMkLst>
        </pc:picChg>
        <pc:picChg chg="del">
          <ac:chgData name="Prolay Ghosh" userId="b7af4a88-195a-4c77-9339-a13732cd096f" providerId="ADAL" clId="{3625CD61-9FE5-4276-9799-D1F011D1F900}" dt="2021-06-15T08:47:20.331" v="496" actId="478"/>
          <ac:picMkLst>
            <pc:docMk/>
            <pc:sldMk cId="4018166022" sldId="20976"/>
            <ac:picMk id="106" creationId="{ACA9DB3A-C3D1-4F2F-8691-057F60BB5129}"/>
          </ac:picMkLst>
        </pc:picChg>
        <pc:picChg chg="del">
          <ac:chgData name="Prolay Ghosh" userId="b7af4a88-195a-4c77-9339-a13732cd096f" providerId="ADAL" clId="{3625CD61-9FE5-4276-9799-D1F011D1F900}" dt="2021-06-15T08:47:20.331" v="496" actId="478"/>
          <ac:picMkLst>
            <pc:docMk/>
            <pc:sldMk cId="4018166022" sldId="20976"/>
            <ac:picMk id="107" creationId="{FC5DE61C-C80E-444F-AFC3-8EF1A5398AF3}"/>
          </ac:picMkLst>
        </pc:picChg>
        <pc:picChg chg="del">
          <ac:chgData name="Prolay Ghosh" userId="b7af4a88-195a-4c77-9339-a13732cd096f" providerId="ADAL" clId="{3625CD61-9FE5-4276-9799-D1F011D1F900}" dt="2021-06-15T08:47:20.331" v="496" actId="478"/>
          <ac:picMkLst>
            <pc:docMk/>
            <pc:sldMk cId="4018166022" sldId="20976"/>
            <ac:picMk id="108" creationId="{C40BD7EB-A842-4CB5-8F2F-08DE48065C5D}"/>
          </ac:picMkLst>
        </pc:picChg>
        <pc:picChg chg="del">
          <ac:chgData name="Prolay Ghosh" userId="b7af4a88-195a-4c77-9339-a13732cd096f" providerId="ADAL" clId="{3625CD61-9FE5-4276-9799-D1F011D1F900}" dt="2021-06-15T08:47:20.331" v="496" actId="478"/>
          <ac:picMkLst>
            <pc:docMk/>
            <pc:sldMk cId="4018166022" sldId="20976"/>
            <ac:picMk id="109" creationId="{004C5D8C-A371-4310-A105-419A75EC1A2D}"/>
          </ac:picMkLst>
        </pc:picChg>
        <pc:picChg chg="del">
          <ac:chgData name="Prolay Ghosh" userId="b7af4a88-195a-4c77-9339-a13732cd096f" providerId="ADAL" clId="{3625CD61-9FE5-4276-9799-D1F011D1F900}" dt="2021-06-15T08:47:20.331" v="496" actId="478"/>
          <ac:picMkLst>
            <pc:docMk/>
            <pc:sldMk cId="4018166022" sldId="20976"/>
            <ac:picMk id="110" creationId="{9DCDE34C-9EFA-41A6-88AC-B1EBDB1056E7}"/>
          </ac:picMkLst>
        </pc:picChg>
        <pc:picChg chg="del">
          <ac:chgData name="Prolay Ghosh" userId="b7af4a88-195a-4c77-9339-a13732cd096f" providerId="ADAL" clId="{3625CD61-9FE5-4276-9799-D1F011D1F900}" dt="2021-06-15T08:47:20.331" v="496" actId="478"/>
          <ac:picMkLst>
            <pc:docMk/>
            <pc:sldMk cId="4018166022" sldId="20976"/>
            <ac:picMk id="111" creationId="{ECCED1ED-24FF-4367-A250-86427BB60DF9}"/>
          </ac:picMkLst>
        </pc:picChg>
        <pc:picChg chg="del">
          <ac:chgData name="Prolay Ghosh" userId="b7af4a88-195a-4c77-9339-a13732cd096f" providerId="ADAL" clId="{3625CD61-9FE5-4276-9799-D1F011D1F900}" dt="2021-06-15T08:47:20.331" v="496" actId="478"/>
          <ac:picMkLst>
            <pc:docMk/>
            <pc:sldMk cId="4018166022" sldId="20976"/>
            <ac:picMk id="112" creationId="{E0EC24AE-9F82-4128-856B-B3DA0979A055}"/>
          </ac:picMkLst>
        </pc:picChg>
        <pc:picChg chg="del">
          <ac:chgData name="Prolay Ghosh" userId="b7af4a88-195a-4c77-9339-a13732cd096f" providerId="ADAL" clId="{3625CD61-9FE5-4276-9799-D1F011D1F900}" dt="2021-06-15T08:47:20.331" v="496" actId="478"/>
          <ac:picMkLst>
            <pc:docMk/>
            <pc:sldMk cId="4018166022" sldId="20976"/>
            <ac:picMk id="113" creationId="{C64C9C8A-FEA1-49AA-AB39-39846534C8C3}"/>
          </ac:picMkLst>
        </pc:picChg>
        <pc:picChg chg="del">
          <ac:chgData name="Prolay Ghosh" userId="b7af4a88-195a-4c77-9339-a13732cd096f" providerId="ADAL" clId="{3625CD61-9FE5-4276-9799-D1F011D1F900}" dt="2021-06-15T08:47:20.331" v="496" actId="478"/>
          <ac:picMkLst>
            <pc:docMk/>
            <pc:sldMk cId="4018166022" sldId="20976"/>
            <ac:picMk id="114" creationId="{2CCBC76C-8E16-4C41-8D7B-6296541C4EE8}"/>
          </ac:picMkLst>
        </pc:picChg>
        <pc:picChg chg="del">
          <ac:chgData name="Prolay Ghosh" userId="b7af4a88-195a-4c77-9339-a13732cd096f" providerId="ADAL" clId="{3625CD61-9FE5-4276-9799-D1F011D1F900}" dt="2021-06-15T08:47:20.331" v="496" actId="478"/>
          <ac:picMkLst>
            <pc:docMk/>
            <pc:sldMk cId="4018166022" sldId="20976"/>
            <ac:picMk id="115" creationId="{276F4518-D907-4340-97AD-73E83756C5C8}"/>
          </ac:picMkLst>
        </pc:picChg>
        <pc:picChg chg="del">
          <ac:chgData name="Prolay Ghosh" userId="b7af4a88-195a-4c77-9339-a13732cd096f" providerId="ADAL" clId="{3625CD61-9FE5-4276-9799-D1F011D1F900}" dt="2021-06-15T08:47:20.331" v="496" actId="478"/>
          <ac:picMkLst>
            <pc:docMk/>
            <pc:sldMk cId="4018166022" sldId="20976"/>
            <ac:picMk id="116" creationId="{AEEB7142-C88D-48A4-A75C-541C89EC3C0D}"/>
          </ac:picMkLst>
        </pc:picChg>
        <pc:picChg chg="del">
          <ac:chgData name="Prolay Ghosh" userId="b7af4a88-195a-4c77-9339-a13732cd096f" providerId="ADAL" clId="{3625CD61-9FE5-4276-9799-D1F011D1F900}" dt="2021-06-15T08:47:20.331" v="496" actId="478"/>
          <ac:picMkLst>
            <pc:docMk/>
            <pc:sldMk cId="4018166022" sldId="20976"/>
            <ac:picMk id="117" creationId="{531D2F71-A56A-46C9-BC93-54B88B23206C}"/>
          </ac:picMkLst>
        </pc:picChg>
        <pc:picChg chg="del">
          <ac:chgData name="Prolay Ghosh" userId="b7af4a88-195a-4c77-9339-a13732cd096f" providerId="ADAL" clId="{3625CD61-9FE5-4276-9799-D1F011D1F900}" dt="2021-06-15T08:47:20.331" v="496" actId="478"/>
          <ac:picMkLst>
            <pc:docMk/>
            <pc:sldMk cId="4018166022" sldId="20976"/>
            <ac:picMk id="118" creationId="{1EE42720-F495-4271-8547-4098ADF7F4A3}"/>
          </ac:picMkLst>
        </pc:picChg>
        <pc:picChg chg="del">
          <ac:chgData name="Prolay Ghosh" userId="b7af4a88-195a-4c77-9339-a13732cd096f" providerId="ADAL" clId="{3625CD61-9FE5-4276-9799-D1F011D1F900}" dt="2021-06-15T08:47:20.331" v="496" actId="478"/>
          <ac:picMkLst>
            <pc:docMk/>
            <pc:sldMk cId="4018166022" sldId="20976"/>
            <ac:picMk id="119" creationId="{8AAAAC95-EE9E-4943-BE39-D939DB4E74A5}"/>
          </ac:picMkLst>
        </pc:picChg>
        <pc:picChg chg="del">
          <ac:chgData name="Prolay Ghosh" userId="b7af4a88-195a-4c77-9339-a13732cd096f" providerId="ADAL" clId="{3625CD61-9FE5-4276-9799-D1F011D1F900}" dt="2021-06-15T08:47:20.331" v="496" actId="478"/>
          <ac:picMkLst>
            <pc:docMk/>
            <pc:sldMk cId="4018166022" sldId="20976"/>
            <ac:picMk id="120" creationId="{F2DFD653-931C-4CD4-B298-9B01DA4135EC}"/>
          </ac:picMkLst>
        </pc:picChg>
        <pc:picChg chg="del">
          <ac:chgData name="Prolay Ghosh" userId="b7af4a88-195a-4c77-9339-a13732cd096f" providerId="ADAL" clId="{3625CD61-9FE5-4276-9799-D1F011D1F900}" dt="2021-06-15T08:47:20.331" v="496" actId="478"/>
          <ac:picMkLst>
            <pc:docMk/>
            <pc:sldMk cId="4018166022" sldId="20976"/>
            <ac:picMk id="121" creationId="{33D07DBE-A553-411B-A8EE-C50EF732B98C}"/>
          </ac:picMkLst>
        </pc:picChg>
        <pc:picChg chg="del">
          <ac:chgData name="Prolay Ghosh" userId="b7af4a88-195a-4c77-9339-a13732cd096f" providerId="ADAL" clId="{3625CD61-9FE5-4276-9799-D1F011D1F900}" dt="2021-06-15T08:47:20.331" v="496" actId="478"/>
          <ac:picMkLst>
            <pc:docMk/>
            <pc:sldMk cId="4018166022" sldId="20976"/>
            <ac:picMk id="122" creationId="{3FE7CBDC-A4AD-474A-8D82-7E6C9B22B543}"/>
          </ac:picMkLst>
        </pc:picChg>
        <pc:picChg chg="del">
          <ac:chgData name="Prolay Ghosh" userId="b7af4a88-195a-4c77-9339-a13732cd096f" providerId="ADAL" clId="{3625CD61-9FE5-4276-9799-D1F011D1F900}" dt="2021-06-15T08:47:20.331" v="496" actId="478"/>
          <ac:picMkLst>
            <pc:docMk/>
            <pc:sldMk cId="4018166022" sldId="20976"/>
            <ac:picMk id="123" creationId="{99D49373-9AE9-40EE-9B33-EC0B29C870BD}"/>
          </ac:picMkLst>
        </pc:picChg>
        <pc:picChg chg="del">
          <ac:chgData name="Prolay Ghosh" userId="b7af4a88-195a-4c77-9339-a13732cd096f" providerId="ADAL" clId="{3625CD61-9FE5-4276-9799-D1F011D1F900}" dt="2021-06-15T08:47:20.331" v="496" actId="478"/>
          <ac:picMkLst>
            <pc:docMk/>
            <pc:sldMk cId="4018166022" sldId="20976"/>
            <ac:picMk id="124" creationId="{DB748ED7-7957-4EA3-B201-43A99D81868A}"/>
          </ac:picMkLst>
        </pc:picChg>
        <pc:picChg chg="del">
          <ac:chgData name="Prolay Ghosh" userId="b7af4a88-195a-4c77-9339-a13732cd096f" providerId="ADAL" clId="{3625CD61-9FE5-4276-9799-D1F011D1F900}" dt="2021-06-15T08:47:20.331" v="496" actId="478"/>
          <ac:picMkLst>
            <pc:docMk/>
            <pc:sldMk cId="4018166022" sldId="20976"/>
            <ac:picMk id="125" creationId="{37529AD2-E410-407D-9E44-33EEC00B19CE}"/>
          </ac:picMkLst>
        </pc:picChg>
        <pc:picChg chg="del">
          <ac:chgData name="Prolay Ghosh" userId="b7af4a88-195a-4c77-9339-a13732cd096f" providerId="ADAL" clId="{3625CD61-9FE5-4276-9799-D1F011D1F900}" dt="2021-06-15T08:47:20.331" v="496" actId="478"/>
          <ac:picMkLst>
            <pc:docMk/>
            <pc:sldMk cId="4018166022" sldId="20976"/>
            <ac:picMk id="126" creationId="{BD0172AE-2384-4D2B-8715-ECF86C56C984}"/>
          </ac:picMkLst>
        </pc:picChg>
        <pc:picChg chg="del">
          <ac:chgData name="Prolay Ghosh" userId="b7af4a88-195a-4c77-9339-a13732cd096f" providerId="ADAL" clId="{3625CD61-9FE5-4276-9799-D1F011D1F900}" dt="2021-06-15T08:47:20.331" v="496" actId="478"/>
          <ac:picMkLst>
            <pc:docMk/>
            <pc:sldMk cId="4018166022" sldId="20976"/>
            <ac:picMk id="127" creationId="{DB9C0B9F-C518-4673-BFAD-F30AFDF69A94}"/>
          </ac:picMkLst>
        </pc:picChg>
        <pc:picChg chg="del">
          <ac:chgData name="Prolay Ghosh" userId="b7af4a88-195a-4c77-9339-a13732cd096f" providerId="ADAL" clId="{3625CD61-9FE5-4276-9799-D1F011D1F900}" dt="2021-06-15T08:47:20.331" v="496" actId="478"/>
          <ac:picMkLst>
            <pc:docMk/>
            <pc:sldMk cId="4018166022" sldId="20976"/>
            <ac:picMk id="128" creationId="{1AE34B71-337A-49F8-91CF-B62B6111B9FC}"/>
          </ac:picMkLst>
        </pc:picChg>
        <pc:picChg chg="del">
          <ac:chgData name="Prolay Ghosh" userId="b7af4a88-195a-4c77-9339-a13732cd096f" providerId="ADAL" clId="{3625CD61-9FE5-4276-9799-D1F011D1F900}" dt="2021-06-15T08:47:20.331" v="496" actId="478"/>
          <ac:picMkLst>
            <pc:docMk/>
            <pc:sldMk cId="4018166022" sldId="20976"/>
            <ac:picMk id="129" creationId="{9784C451-E809-468B-AC87-2CDDAAE3DBC0}"/>
          </ac:picMkLst>
        </pc:picChg>
        <pc:picChg chg="del">
          <ac:chgData name="Prolay Ghosh" userId="b7af4a88-195a-4c77-9339-a13732cd096f" providerId="ADAL" clId="{3625CD61-9FE5-4276-9799-D1F011D1F900}" dt="2021-06-15T08:47:20.331" v="496" actId="478"/>
          <ac:picMkLst>
            <pc:docMk/>
            <pc:sldMk cId="4018166022" sldId="20976"/>
            <ac:picMk id="130" creationId="{8102516F-8D0C-489C-A7DC-F2CB1E5857A5}"/>
          </ac:picMkLst>
        </pc:picChg>
        <pc:picChg chg="del">
          <ac:chgData name="Prolay Ghosh" userId="b7af4a88-195a-4c77-9339-a13732cd096f" providerId="ADAL" clId="{3625CD61-9FE5-4276-9799-D1F011D1F900}" dt="2021-06-15T08:47:20.331" v="496" actId="478"/>
          <ac:picMkLst>
            <pc:docMk/>
            <pc:sldMk cId="4018166022" sldId="20976"/>
            <ac:picMk id="131" creationId="{A12EF3B3-E97D-44E6-A7D5-319E612667CB}"/>
          </ac:picMkLst>
        </pc:picChg>
        <pc:picChg chg="del">
          <ac:chgData name="Prolay Ghosh" userId="b7af4a88-195a-4c77-9339-a13732cd096f" providerId="ADAL" clId="{3625CD61-9FE5-4276-9799-D1F011D1F900}" dt="2021-06-15T08:47:20.331" v="496" actId="478"/>
          <ac:picMkLst>
            <pc:docMk/>
            <pc:sldMk cId="4018166022" sldId="20976"/>
            <ac:picMk id="132" creationId="{1E4D943C-9AE7-4069-AF7A-63819CD45911}"/>
          </ac:picMkLst>
        </pc:picChg>
        <pc:picChg chg="del">
          <ac:chgData name="Prolay Ghosh" userId="b7af4a88-195a-4c77-9339-a13732cd096f" providerId="ADAL" clId="{3625CD61-9FE5-4276-9799-D1F011D1F900}" dt="2021-06-15T08:47:20.331" v="496" actId="478"/>
          <ac:picMkLst>
            <pc:docMk/>
            <pc:sldMk cId="4018166022" sldId="20976"/>
            <ac:picMk id="133" creationId="{D97D8B08-23DF-4016-B22C-0D11D0F68974}"/>
          </ac:picMkLst>
        </pc:picChg>
        <pc:picChg chg="del">
          <ac:chgData name="Prolay Ghosh" userId="b7af4a88-195a-4c77-9339-a13732cd096f" providerId="ADAL" clId="{3625CD61-9FE5-4276-9799-D1F011D1F900}" dt="2021-06-15T08:47:20.331" v="496" actId="478"/>
          <ac:picMkLst>
            <pc:docMk/>
            <pc:sldMk cId="4018166022" sldId="20976"/>
            <ac:picMk id="134" creationId="{CE12AB48-1C43-4BB8-A478-68661629EEC8}"/>
          </ac:picMkLst>
        </pc:picChg>
        <pc:picChg chg="del">
          <ac:chgData name="Prolay Ghosh" userId="b7af4a88-195a-4c77-9339-a13732cd096f" providerId="ADAL" clId="{3625CD61-9FE5-4276-9799-D1F011D1F900}" dt="2021-06-15T08:47:20.331" v="496" actId="478"/>
          <ac:picMkLst>
            <pc:docMk/>
            <pc:sldMk cId="4018166022" sldId="20976"/>
            <ac:picMk id="135" creationId="{962BEF65-82E4-48EB-8DE8-4948188DF05A}"/>
          </ac:picMkLst>
        </pc:picChg>
        <pc:picChg chg="del">
          <ac:chgData name="Prolay Ghosh" userId="b7af4a88-195a-4c77-9339-a13732cd096f" providerId="ADAL" clId="{3625CD61-9FE5-4276-9799-D1F011D1F900}" dt="2021-06-15T08:47:20.331" v="496" actId="478"/>
          <ac:picMkLst>
            <pc:docMk/>
            <pc:sldMk cId="4018166022" sldId="20976"/>
            <ac:picMk id="136" creationId="{4E956D60-526D-480F-8D38-B3CC9634BA1F}"/>
          </ac:picMkLst>
        </pc:picChg>
        <pc:picChg chg="del">
          <ac:chgData name="Prolay Ghosh" userId="b7af4a88-195a-4c77-9339-a13732cd096f" providerId="ADAL" clId="{3625CD61-9FE5-4276-9799-D1F011D1F900}" dt="2021-06-15T08:47:20.331" v="496" actId="478"/>
          <ac:picMkLst>
            <pc:docMk/>
            <pc:sldMk cId="4018166022" sldId="20976"/>
            <ac:picMk id="137" creationId="{E4C21D99-F473-410D-806D-30A6366BA218}"/>
          </ac:picMkLst>
        </pc:picChg>
        <pc:picChg chg="del">
          <ac:chgData name="Prolay Ghosh" userId="b7af4a88-195a-4c77-9339-a13732cd096f" providerId="ADAL" clId="{3625CD61-9FE5-4276-9799-D1F011D1F900}" dt="2021-06-15T08:47:20.331" v="496" actId="478"/>
          <ac:picMkLst>
            <pc:docMk/>
            <pc:sldMk cId="4018166022" sldId="20976"/>
            <ac:picMk id="138" creationId="{B11DCC01-97B0-4114-AF90-0C7A72BAE900}"/>
          </ac:picMkLst>
        </pc:picChg>
        <pc:picChg chg="del">
          <ac:chgData name="Prolay Ghosh" userId="b7af4a88-195a-4c77-9339-a13732cd096f" providerId="ADAL" clId="{3625CD61-9FE5-4276-9799-D1F011D1F900}" dt="2021-06-15T08:47:20.331" v="496" actId="478"/>
          <ac:picMkLst>
            <pc:docMk/>
            <pc:sldMk cId="4018166022" sldId="20976"/>
            <ac:picMk id="139" creationId="{62FFEC21-430F-48E7-BAAE-E2107216DD13}"/>
          </ac:picMkLst>
        </pc:picChg>
        <pc:picChg chg="del">
          <ac:chgData name="Prolay Ghosh" userId="b7af4a88-195a-4c77-9339-a13732cd096f" providerId="ADAL" clId="{3625CD61-9FE5-4276-9799-D1F011D1F900}" dt="2021-06-15T08:47:20.331" v="496" actId="478"/>
          <ac:picMkLst>
            <pc:docMk/>
            <pc:sldMk cId="4018166022" sldId="20976"/>
            <ac:picMk id="140" creationId="{E6EA8385-AFA2-4AB9-B898-595660AB8568}"/>
          </ac:picMkLst>
        </pc:picChg>
        <pc:picChg chg="del">
          <ac:chgData name="Prolay Ghosh" userId="b7af4a88-195a-4c77-9339-a13732cd096f" providerId="ADAL" clId="{3625CD61-9FE5-4276-9799-D1F011D1F900}" dt="2021-06-15T08:47:20.331" v="496" actId="478"/>
          <ac:picMkLst>
            <pc:docMk/>
            <pc:sldMk cId="4018166022" sldId="20976"/>
            <ac:picMk id="141" creationId="{23F81E6B-65C0-45AE-91E3-AD42B6B5EE7C}"/>
          </ac:picMkLst>
        </pc:picChg>
        <pc:picChg chg="del">
          <ac:chgData name="Prolay Ghosh" userId="b7af4a88-195a-4c77-9339-a13732cd096f" providerId="ADAL" clId="{3625CD61-9FE5-4276-9799-D1F011D1F900}" dt="2021-06-15T08:47:20.331" v="496" actId="478"/>
          <ac:picMkLst>
            <pc:docMk/>
            <pc:sldMk cId="4018166022" sldId="20976"/>
            <ac:picMk id="142" creationId="{13DB09AB-6415-47CA-8837-C0E9B1AE0E04}"/>
          </ac:picMkLst>
        </pc:picChg>
        <pc:picChg chg="del">
          <ac:chgData name="Prolay Ghosh" userId="b7af4a88-195a-4c77-9339-a13732cd096f" providerId="ADAL" clId="{3625CD61-9FE5-4276-9799-D1F011D1F900}" dt="2021-06-15T08:47:20.331" v="496" actId="478"/>
          <ac:picMkLst>
            <pc:docMk/>
            <pc:sldMk cId="4018166022" sldId="20976"/>
            <ac:picMk id="143" creationId="{48C11283-0C54-4809-B543-C3EA5185DD82}"/>
          </ac:picMkLst>
        </pc:picChg>
        <pc:picChg chg="del">
          <ac:chgData name="Prolay Ghosh" userId="b7af4a88-195a-4c77-9339-a13732cd096f" providerId="ADAL" clId="{3625CD61-9FE5-4276-9799-D1F011D1F900}" dt="2021-06-15T08:47:20.331" v="496" actId="478"/>
          <ac:picMkLst>
            <pc:docMk/>
            <pc:sldMk cId="4018166022" sldId="20976"/>
            <ac:picMk id="144" creationId="{233C82A8-854F-4B67-B86F-F97F7D748948}"/>
          </ac:picMkLst>
        </pc:picChg>
        <pc:picChg chg="del">
          <ac:chgData name="Prolay Ghosh" userId="b7af4a88-195a-4c77-9339-a13732cd096f" providerId="ADAL" clId="{3625CD61-9FE5-4276-9799-D1F011D1F900}" dt="2021-06-15T08:47:20.331" v="496" actId="478"/>
          <ac:picMkLst>
            <pc:docMk/>
            <pc:sldMk cId="4018166022" sldId="20976"/>
            <ac:picMk id="145" creationId="{89F1FBE3-9133-4F10-BD88-E99EB094FA40}"/>
          </ac:picMkLst>
        </pc:picChg>
        <pc:picChg chg="del">
          <ac:chgData name="Prolay Ghosh" userId="b7af4a88-195a-4c77-9339-a13732cd096f" providerId="ADAL" clId="{3625CD61-9FE5-4276-9799-D1F011D1F900}" dt="2021-06-15T08:47:20.331" v="496" actId="478"/>
          <ac:picMkLst>
            <pc:docMk/>
            <pc:sldMk cId="4018166022" sldId="20976"/>
            <ac:picMk id="146" creationId="{B7D32637-EAE4-4894-B4EC-11694D1F02B9}"/>
          </ac:picMkLst>
        </pc:picChg>
        <pc:picChg chg="del">
          <ac:chgData name="Prolay Ghosh" userId="b7af4a88-195a-4c77-9339-a13732cd096f" providerId="ADAL" clId="{3625CD61-9FE5-4276-9799-D1F011D1F900}" dt="2021-06-15T08:47:20.331" v="496" actId="478"/>
          <ac:picMkLst>
            <pc:docMk/>
            <pc:sldMk cId="4018166022" sldId="20976"/>
            <ac:picMk id="147" creationId="{7208170F-6335-44D8-B476-BB7B55CBBA95}"/>
          </ac:picMkLst>
        </pc:picChg>
        <pc:picChg chg="del">
          <ac:chgData name="Prolay Ghosh" userId="b7af4a88-195a-4c77-9339-a13732cd096f" providerId="ADAL" clId="{3625CD61-9FE5-4276-9799-D1F011D1F900}" dt="2021-06-15T08:47:20.331" v="496" actId="478"/>
          <ac:picMkLst>
            <pc:docMk/>
            <pc:sldMk cId="4018166022" sldId="20976"/>
            <ac:picMk id="148" creationId="{63901B9D-4AC3-48D1-8CCA-FEA6BA70C0C6}"/>
          </ac:picMkLst>
        </pc:picChg>
        <pc:picChg chg="del">
          <ac:chgData name="Prolay Ghosh" userId="b7af4a88-195a-4c77-9339-a13732cd096f" providerId="ADAL" clId="{3625CD61-9FE5-4276-9799-D1F011D1F900}" dt="2021-06-15T08:47:20.331" v="496" actId="478"/>
          <ac:picMkLst>
            <pc:docMk/>
            <pc:sldMk cId="4018166022" sldId="20976"/>
            <ac:picMk id="149" creationId="{A6767B7C-E7D5-46BB-B798-D8F583E3187A}"/>
          </ac:picMkLst>
        </pc:picChg>
        <pc:picChg chg="del">
          <ac:chgData name="Prolay Ghosh" userId="b7af4a88-195a-4c77-9339-a13732cd096f" providerId="ADAL" clId="{3625CD61-9FE5-4276-9799-D1F011D1F900}" dt="2021-06-15T08:47:20.331" v="496" actId="478"/>
          <ac:picMkLst>
            <pc:docMk/>
            <pc:sldMk cId="4018166022" sldId="20976"/>
            <ac:picMk id="150" creationId="{FA2EB8F5-DFDF-4B85-A4A0-292B78C55960}"/>
          </ac:picMkLst>
        </pc:picChg>
        <pc:picChg chg="del">
          <ac:chgData name="Prolay Ghosh" userId="b7af4a88-195a-4c77-9339-a13732cd096f" providerId="ADAL" clId="{3625CD61-9FE5-4276-9799-D1F011D1F900}" dt="2021-06-15T08:47:20.331" v="496" actId="478"/>
          <ac:picMkLst>
            <pc:docMk/>
            <pc:sldMk cId="4018166022" sldId="20976"/>
            <ac:picMk id="151" creationId="{E95DA290-CABD-4060-A63E-C4E7D5A1FBC0}"/>
          </ac:picMkLst>
        </pc:picChg>
        <pc:picChg chg="del">
          <ac:chgData name="Prolay Ghosh" userId="b7af4a88-195a-4c77-9339-a13732cd096f" providerId="ADAL" clId="{3625CD61-9FE5-4276-9799-D1F011D1F900}" dt="2021-06-15T08:47:20.331" v="496" actId="478"/>
          <ac:picMkLst>
            <pc:docMk/>
            <pc:sldMk cId="4018166022" sldId="20976"/>
            <ac:picMk id="152" creationId="{F26B2304-F223-4B8A-A053-26D95A3F0CC9}"/>
          </ac:picMkLst>
        </pc:picChg>
        <pc:picChg chg="del">
          <ac:chgData name="Prolay Ghosh" userId="b7af4a88-195a-4c77-9339-a13732cd096f" providerId="ADAL" clId="{3625CD61-9FE5-4276-9799-D1F011D1F900}" dt="2021-06-15T08:47:20.331" v="496" actId="478"/>
          <ac:picMkLst>
            <pc:docMk/>
            <pc:sldMk cId="4018166022" sldId="20976"/>
            <ac:picMk id="153" creationId="{837E2BAD-6787-40FF-84BB-8A0878081114}"/>
          </ac:picMkLst>
        </pc:picChg>
        <pc:picChg chg="del">
          <ac:chgData name="Prolay Ghosh" userId="b7af4a88-195a-4c77-9339-a13732cd096f" providerId="ADAL" clId="{3625CD61-9FE5-4276-9799-D1F011D1F900}" dt="2021-06-15T08:47:20.331" v="496" actId="478"/>
          <ac:picMkLst>
            <pc:docMk/>
            <pc:sldMk cId="4018166022" sldId="20976"/>
            <ac:picMk id="154" creationId="{0E266174-17F7-4552-B516-935FCD313F36}"/>
          </ac:picMkLst>
        </pc:picChg>
        <pc:picChg chg="del">
          <ac:chgData name="Prolay Ghosh" userId="b7af4a88-195a-4c77-9339-a13732cd096f" providerId="ADAL" clId="{3625CD61-9FE5-4276-9799-D1F011D1F900}" dt="2021-06-15T08:47:20.331" v="496" actId="478"/>
          <ac:picMkLst>
            <pc:docMk/>
            <pc:sldMk cId="4018166022" sldId="20976"/>
            <ac:picMk id="155" creationId="{3E9A4F97-9703-488F-8C67-D806F67225DB}"/>
          </ac:picMkLst>
        </pc:picChg>
        <pc:picChg chg="del">
          <ac:chgData name="Prolay Ghosh" userId="b7af4a88-195a-4c77-9339-a13732cd096f" providerId="ADAL" clId="{3625CD61-9FE5-4276-9799-D1F011D1F900}" dt="2021-06-15T08:47:20.331" v="496" actId="478"/>
          <ac:picMkLst>
            <pc:docMk/>
            <pc:sldMk cId="4018166022" sldId="20976"/>
            <ac:picMk id="156" creationId="{F5FD2DEA-A997-424C-BAAC-F9793D84F3F3}"/>
          </ac:picMkLst>
        </pc:picChg>
        <pc:picChg chg="del">
          <ac:chgData name="Prolay Ghosh" userId="b7af4a88-195a-4c77-9339-a13732cd096f" providerId="ADAL" clId="{3625CD61-9FE5-4276-9799-D1F011D1F900}" dt="2021-06-15T08:47:20.331" v="496" actId="478"/>
          <ac:picMkLst>
            <pc:docMk/>
            <pc:sldMk cId="4018166022" sldId="20976"/>
            <ac:picMk id="157" creationId="{5A7DC0F3-EAC3-42C8-8735-15AEE43B1D82}"/>
          </ac:picMkLst>
        </pc:picChg>
        <pc:picChg chg="del">
          <ac:chgData name="Prolay Ghosh" userId="b7af4a88-195a-4c77-9339-a13732cd096f" providerId="ADAL" clId="{3625CD61-9FE5-4276-9799-D1F011D1F900}" dt="2021-06-15T08:47:20.331" v="496" actId="478"/>
          <ac:picMkLst>
            <pc:docMk/>
            <pc:sldMk cId="4018166022" sldId="20976"/>
            <ac:picMk id="158" creationId="{DDB8570D-4D45-4990-AE09-AEA982BB8A7D}"/>
          </ac:picMkLst>
        </pc:picChg>
        <pc:picChg chg="del">
          <ac:chgData name="Prolay Ghosh" userId="b7af4a88-195a-4c77-9339-a13732cd096f" providerId="ADAL" clId="{3625CD61-9FE5-4276-9799-D1F011D1F900}" dt="2021-06-15T08:47:20.331" v="496" actId="478"/>
          <ac:picMkLst>
            <pc:docMk/>
            <pc:sldMk cId="4018166022" sldId="20976"/>
            <ac:picMk id="159" creationId="{CB5BA8DE-C749-45C6-AD54-3F0DD743052B}"/>
          </ac:picMkLst>
        </pc:picChg>
        <pc:picChg chg="del">
          <ac:chgData name="Prolay Ghosh" userId="b7af4a88-195a-4c77-9339-a13732cd096f" providerId="ADAL" clId="{3625CD61-9FE5-4276-9799-D1F011D1F900}" dt="2021-06-15T08:47:20.331" v="496" actId="478"/>
          <ac:picMkLst>
            <pc:docMk/>
            <pc:sldMk cId="4018166022" sldId="20976"/>
            <ac:picMk id="160" creationId="{8016B19B-A54A-485D-8142-A098DF5423E6}"/>
          </ac:picMkLst>
        </pc:picChg>
        <pc:picChg chg="del">
          <ac:chgData name="Prolay Ghosh" userId="b7af4a88-195a-4c77-9339-a13732cd096f" providerId="ADAL" clId="{3625CD61-9FE5-4276-9799-D1F011D1F900}" dt="2021-06-15T08:47:20.331" v="496" actId="478"/>
          <ac:picMkLst>
            <pc:docMk/>
            <pc:sldMk cId="4018166022" sldId="20976"/>
            <ac:picMk id="161" creationId="{AEEBB760-AF85-4F4A-BE00-C7E08FA92F47}"/>
          </ac:picMkLst>
        </pc:picChg>
        <pc:picChg chg="del">
          <ac:chgData name="Prolay Ghosh" userId="b7af4a88-195a-4c77-9339-a13732cd096f" providerId="ADAL" clId="{3625CD61-9FE5-4276-9799-D1F011D1F900}" dt="2021-06-15T08:47:20.331" v="496" actId="478"/>
          <ac:picMkLst>
            <pc:docMk/>
            <pc:sldMk cId="4018166022" sldId="20976"/>
            <ac:picMk id="162" creationId="{97FFA876-FF85-48A9-A766-54A6E26D209D}"/>
          </ac:picMkLst>
        </pc:picChg>
        <pc:picChg chg="del">
          <ac:chgData name="Prolay Ghosh" userId="b7af4a88-195a-4c77-9339-a13732cd096f" providerId="ADAL" clId="{3625CD61-9FE5-4276-9799-D1F011D1F900}" dt="2021-06-15T08:47:20.331" v="496" actId="478"/>
          <ac:picMkLst>
            <pc:docMk/>
            <pc:sldMk cId="4018166022" sldId="20976"/>
            <ac:picMk id="163" creationId="{93C92707-07FE-47ED-8518-D45210082BEA}"/>
          </ac:picMkLst>
        </pc:picChg>
        <pc:picChg chg="del">
          <ac:chgData name="Prolay Ghosh" userId="b7af4a88-195a-4c77-9339-a13732cd096f" providerId="ADAL" clId="{3625CD61-9FE5-4276-9799-D1F011D1F900}" dt="2021-06-15T08:47:20.331" v="496" actId="478"/>
          <ac:picMkLst>
            <pc:docMk/>
            <pc:sldMk cId="4018166022" sldId="20976"/>
            <ac:picMk id="164" creationId="{4D1EF17C-E9C3-403A-BC45-ACB950F3F3AC}"/>
          </ac:picMkLst>
        </pc:picChg>
        <pc:picChg chg="del">
          <ac:chgData name="Prolay Ghosh" userId="b7af4a88-195a-4c77-9339-a13732cd096f" providerId="ADAL" clId="{3625CD61-9FE5-4276-9799-D1F011D1F900}" dt="2021-06-15T08:47:20.331" v="496" actId="478"/>
          <ac:picMkLst>
            <pc:docMk/>
            <pc:sldMk cId="4018166022" sldId="20976"/>
            <ac:picMk id="165" creationId="{06423ACD-4F2F-4290-A594-D7EDD7F6161F}"/>
          </ac:picMkLst>
        </pc:picChg>
        <pc:picChg chg="del">
          <ac:chgData name="Prolay Ghosh" userId="b7af4a88-195a-4c77-9339-a13732cd096f" providerId="ADAL" clId="{3625CD61-9FE5-4276-9799-D1F011D1F900}" dt="2021-06-15T08:47:20.331" v="496" actId="478"/>
          <ac:picMkLst>
            <pc:docMk/>
            <pc:sldMk cId="4018166022" sldId="20976"/>
            <ac:picMk id="166" creationId="{2F055129-8E42-4664-AF5F-194DE79B3458}"/>
          </ac:picMkLst>
        </pc:picChg>
        <pc:picChg chg="del">
          <ac:chgData name="Prolay Ghosh" userId="b7af4a88-195a-4c77-9339-a13732cd096f" providerId="ADAL" clId="{3625CD61-9FE5-4276-9799-D1F011D1F900}" dt="2021-06-15T08:47:20.331" v="496" actId="478"/>
          <ac:picMkLst>
            <pc:docMk/>
            <pc:sldMk cId="4018166022" sldId="20976"/>
            <ac:picMk id="167" creationId="{48E56A2B-372C-4B25-AAAB-0432681C78DA}"/>
          </ac:picMkLst>
        </pc:picChg>
        <pc:picChg chg="del">
          <ac:chgData name="Prolay Ghosh" userId="b7af4a88-195a-4c77-9339-a13732cd096f" providerId="ADAL" clId="{3625CD61-9FE5-4276-9799-D1F011D1F900}" dt="2021-06-15T08:47:20.331" v="496" actId="478"/>
          <ac:picMkLst>
            <pc:docMk/>
            <pc:sldMk cId="4018166022" sldId="20976"/>
            <ac:picMk id="168" creationId="{09AE8D69-7B4D-4BCE-A7E6-A919192EF274}"/>
          </ac:picMkLst>
        </pc:picChg>
        <pc:picChg chg="del">
          <ac:chgData name="Prolay Ghosh" userId="b7af4a88-195a-4c77-9339-a13732cd096f" providerId="ADAL" clId="{3625CD61-9FE5-4276-9799-D1F011D1F900}" dt="2021-06-15T08:47:20.331" v="496" actId="478"/>
          <ac:picMkLst>
            <pc:docMk/>
            <pc:sldMk cId="4018166022" sldId="20976"/>
            <ac:picMk id="169" creationId="{B1ABB931-5DAB-419A-B97A-AC526958B20F}"/>
          </ac:picMkLst>
        </pc:picChg>
        <pc:picChg chg="del">
          <ac:chgData name="Prolay Ghosh" userId="b7af4a88-195a-4c77-9339-a13732cd096f" providerId="ADAL" clId="{3625CD61-9FE5-4276-9799-D1F011D1F900}" dt="2021-06-15T08:47:20.331" v="496" actId="478"/>
          <ac:picMkLst>
            <pc:docMk/>
            <pc:sldMk cId="4018166022" sldId="20976"/>
            <ac:picMk id="170" creationId="{2A1EA181-1DC2-467D-A3D6-97A44B851A3A}"/>
          </ac:picMkLst>
        </pc:picChg>
        <pc:picChg chg="del">
          <ac:chgData name="Prolay Ghosh" userId="b7af4a88-195a-4c77-9339-a13732cd096f" providerId="ADAL" clId="{3625CD61-9FE5-4276-9799-D1F011D1F900}" dt="2021-06-15T08:47:20.331" v="496" actId="478"/>
          <ac:picMkLst>
            <pc:docMk/>
            <pc:sldMk cId="4018166022" sldId="20976"/>
            <ac:picMk id="171" creationId="{21FDA40C-6342-4378-9276-A9B093CF808F}"/>
          </ac:picMkLst>
        </pc:picChg>
        <pc:picChg chg="del">
          <ac:chgData name="Prolay Ghosh" userId="b7af4a88-195a-4c77-9339-a13732cd096f" providerId="ADAL" clId="{3625CD61-9FE5-4276-9799-D1F011D1F900}" dt="2021-06-15T08:47:20.331" v="496" actId="478"/>
          <ac:picMkLst>
            <pc:docMk/>
            <pc:sldMk cId="4018166022" sldId="20976"/>
            <ac:picMk id="172" creationId="{696AC6B0-9C13-4DAF-96B8-D7B028191236}"/>
          </ac:picMkLst>
        </pc:picChg>
        <pc:picChg chg="del">
          <ac:chgData name="Prolay Ghosh" userId="b7af4a88-195a-4c77-9339-a13732cd096f" providerId="ADAL" clId="{3625CD61-9FE5-4276-9799-D1F011D1F900}" dt="2021-06-15T08:47:20.331" v="496" actId="478"/>
          <ac:picMkLst>
            <pc:docMk/>
            <pc:sldMk cId="4018166022" sldId="20976"/>
            <ac:picMk id="173" creationId="{A5206483-7764-4FC5-9163-A5083F96FFED}"/>
          </ac:picMkLst>
        </pc:picChg>
        <pc:picChg chg="del">
          <ac:chgData name="Prolay Ghosh" userId="b7af4a88-195a-4c77-9339-a13732cd096f" providerId="ADAL" clId="{3625CD61-9FE5-4276-9799-D1F011D1F900}" dt="2021-06-15T08:47:20.331" v="496" actId="478"/>
          <ac:picMkLst>
            <pc:docMk/>
            <pc:sldMk cId="4018166022" sldId="20976"/>
            <ac:picMk id="174" creationId="{E5E0AA24-A479-4422-AFA3-7210A25E34E4}"/>
          </ac:picMkLst>
        </pc:picChg>
        <pc:picChg chg="del">
          <ac:chgData name="Prolay Ghosh" userId="b7af4a88-195a-4c77-9339-a13732cd096f" providerId="ADAL" clId="{3625CD61-9FE5-4276-9799-D1F011D1F900}" dt="2021-06-15T08:47:20.331" v="496" actId="478"/>
          <ac:picMkLst>
            <pc:docMk/>
            <pc:sldMk cId="4018166022" sldId="20976"/>
            <ac:picMk id="175" creationId="{42D6E456-B3CF-4504-9E33-AE38AF3FA7CE}"/>
          </ac:picMkLst>
        </pc:picChg>
        <pc:picChg chg="del">
          <ac:chgData name="Prolay Ghosh" userId="b7af4a88-195a-4c77-9339-a13732cd096f" providerId="ADAL" clId="{3625CD61-9FE5-4276-9799-D1F011D1F900}" dt="2021-06-15T08:47:20.331" v="496" actId="478"/>
          <ac:picMkLst>
            <pc:docMk/>
            <pc:sldMk cId="4018166022" sldId="20976"/>
            <ac:picMk id="176" creationId="{A655B51F-BBF3-4B3C-8BE2-AB5E3B110F27}"/>
          </ac:picMkLst>
        </pc:picChg>
        <pc:picChg chg="del">
          <ac:chgData name="Prolay Ghosh" userId="b7af4a88-195a-4c77-9339-a13732cd096f" providerId="ADAL" clId="{3625CD61-9FE5-4276-9799-D1F011D1F900}" dt="2021-06-15T08:47:20.331" v="496" actId="478"/>
          <ac:picMkLst>
            <pc:docMk/>
            <pc:sldMk cId="4018166022" sldId="20976"/>
            <ac:picMk id="177" creationId="{2712B221-D243-456E-8ACA-99EE290897B4}"/>
          </ac:picMkLst>
        </pc:picChg>
        <pc:picChg chg="del">
          <ac:chgData name="Prolay Ghosh" userId="b7af4a88-195a-4c77-9339-a13732cd096f" providerId="ADAL" clId="{3625CD61-9FE5-4276-9799-D1F011D1F900}" dt="2021-06-15T08:47:20.331" v="496" actId="478"/>
          <ac:picMkLst>
            <pc:docMk/>
            <pc:sldMk cId="4018166022" sldId="20976"/>
            <ac:picMk id="178" creationId="{7B82BB2A-8F73-4474-8D2C-8D62593742EF}"/>
          </ac:picMkLst>
        </pc:picChg>
        <pc:picChg chg="del">
          <ac:chgData name="Prolay Ghosh" userId="b7af4a88-195a-4c77-9339-a13732cd096f" providerId="ADAL" clId="{3625CD61-9FE5-4276-9799-D1F011D1F900}" dt="2021-06-15T08:47:20.331" v="496" actId="478"/>
          <ac:picMkLst>
            <pc:docMk/>
            <pc:sldMk cId="4018166022" sldId="20976"/>
            <ac:picMk id="179" creationId="{00E9F4DD-5AA7-4C03-81B1-93A21C42A099}"/>
          </ac:picMkLst>
        </pc:picChg>
        <pc:picChg chg="del">
          <ac:chgData name="Prolay Ghosh" userId="b7af4a88-195a-4c77-9339-a13732cd096f" providerId="ADAL" clId="{3625CD61-9FE5-4276-9799-D1F011D1F900}" dt="2021-06-15T08:47:20.331" v="496" actId="478"/>
          <ac:picMkLst>
            <pc:docMk/>
            <pc:sldMk cId="4018166022" sldId="20976"/>
            <ac:picMk id="180" creationId="{10018AB0-DB9C-4B40-B88B-E2658AB1ED9E}"/>
          </ac:picMkLst>
        </pc:picChg>
        <pc:picChg chg="del">
          <ac:chgData name="Prolay Ghosh" userId="b7af4a88-195a-4c77-9339-a13732cd096f" providerId="ADAL" clId="{3625CD61-9FE5-4276-9799-D1F011D1F900}" dt="2021-06-15T08:47:20.331" v="496" actId="478"/>
          <ac:picMkLst>
            <pc:docMk/>
            <pc:sldMk cId="4018166022" sldId="20976"/>
            <ac:picMk id="181" creationId="{BFBD6AF8-2BC9-4412-A968-603C7E1970CC}"/>
          </ac:picMkLst>
        </pc:picChg>
        <pc:picChg chg="del">
          <ac:chgData name="Prolay Ghosh" userId="b7af4a88-195a-4c77-9339-a13732cd096f" providerId="ADAL" clId="{3625CD61-9FE5-4276-9799-D1F011D1F900}" dt="2021-06-15T08:47:20.331" v="496" actId="478"/>
          <ac:picMkLst>
            <pc:docMk/>
            <pc:sldMk cId="4018166022" sldId="20976"/>
            <ac:picMk id="182" creationId="{2B384088-B6B2-4F1E-A67C-663BB9B8B4B9}"/>
          </ac:picMkLst>
        </pc:picChg>
        <pc:picChg chg="del">
          <ac:chgData name="Prolay Ghosh" userId="b7af4a88-195a-4c77-9339-a13732cd096f" providerId="ADAL" clId="{3625CD61-9FE5-4276-9799-D1F011D1F900}" dt="2021-06-15T08:47:20.331" v="496" actId="478"/>
          <ac:picMkLst>
            <pc:docMk/>
            <pc:sldMk cId="4018166022" sldId="20976"/>
            <ac:picMk id="183" creationId="{DBB508B1-4344-479F-95F4-F7141FBE5C9B}"/>
          </ac:picMkLst>
        </pc:picChg>
        <pc:picChg chg="del">
          <ac:chgData name="Prolay Ghosh" userId="b7af4a88-195a-4c77-9339-a13732cd096f" providerId="ADAL" clId="{3625CD61-9FE5-4276-9799-D1F011D1F900}" dt="2021-06-15T08:47:20.331" v="496" actId="478"/>
          <ac:picMkLst>
            <pc:docMk/>
            <pc:sldMk cId="4018166022" sldId="20976"/>
            <ac:picMk id="184" creationId="{482EE817-5762-4377-8247-1EB2033C9885}"/>
          </ac:picMkLst>
        </pc:picChg>
        <pc:picChg chg="del">
          <ac:chgData name="Prolay Ghosh" userId="b7af4a88-195a-4c77-9339-a13732cd096f" providerId="ADAL" clId="{3625CD61-9FE5-4276-9799-D1F011D1F900}" dt="2021-06-15T08:47:20.331" v="496" actId="478"/>
          <ac:picMkLst>
            <pc:docMk/>
            <pc:sldMk cId="4018166022" sldId="20976"/>
            <ac:picMk id="185" creationId="{A9C44791-8E2E-4C2C-95AC-37BEBE119FE9}"/>
          </ac:picMkLst>
        </pc:picChg>
        <pc:picChg chg="del">
          <ac:chgData name="Prolay Ghosh" userId="b7af4a88-195a-4c77-9339-a13732cd096f" providerId="ADAL" clId="{3625CD61-9FE5-4276-9799-D1F011D1F900}" dt="2021-06-15T08:47:20.331" v="496" actId="478"/>
          <ac:picMkLst>
            <pc:docMk/>
            <pc:sldMk cId="4018166022" sldId="20976"/>
            <ac:picMk id="186" creationId="{7CD13AF0-25BF-449B-9ED9-C3E2420184AD}"/>
          </ac:picMkLst>
        </pc:picChg>
        <pc:picChg chg="del">
          <ac:chgData name="Prolay Ghosh" userId="b7af4a88-195a-4c77-9339-a13732cd096f" providerId="ADAL" clId="{3625CD61-9FE5-4276-9799-D1F011D1F900}" dt="2021-06-15T08:47:20.331" v="496" actId="478"/>
          <ac:picMkLst>
            <pc:docMk/>
            <pc:sldMk cId="4018166022" sldId="20976"/>
            <ac:picMk id="187" creationId="{2D4DEEC0-D66D-417A-8E89-9D1A608547BF}"/>
          </ac:picMkLst>
        </pc:picChg>
        <pc:picChg chg="del">
          <ac:chgData name="Prolay Ghosh" userId="b7af4a88-195a-4c77-9339-a13732cd096f" providerId="ADAL" clId="{3625CD61-9FE5-4276-9799-D1F011D1F900}" dt="2021-06-15T08:47:20.331" v="496" actId="478"/>
          <ac:picMkLst>
            <pc:docMk/>
            <pc:sldMk cId="4018166022" sldId="20976"/>
            <ac:picMk id="188" creationId="{2687CA94-EEEA-487E-AFE7-C3ED81CD2794}"/>
          </ac:picMkLst>
        </pc:picChg>
        <pc:picChg chg="add del mod">
          <ac:chgData name="Prolay Ghosh" userId="b7af4a88-195a-4c77-9339-a13732cd096f" providerId="ADAL" clId="{3625CD61-9FE5-4276-9799-D1F011D1F900}" dt="2021-06-15T08:57:45.923" v="538" actId="478"/>
          <ac:picMkLst>
            <pc:docMk/>
            <pc:sldMk cId="4018166022" sldId="20976"/>
            <ac:picMk id="189" creationId="{6C3BCF23-90E7-426B-BA5E-5914CDD8BE41}"/>
          </ac:picMkLst>
        </pc:picChg>
        <pc:picChg chg="add del mod">
          <ac:chgData name="Prolay Ghosh" userId="b7af4a88-195a-4c77-9339-a13732cd096f" providerId="ADAL" clId="{3625CD61-9FE5-4276-9799-D1F011D1F900}" dt="2021-06-15T08:57:52.868" v="541" actId="478"/>
          <ac:picMkLst>
            <pc:docMk/>
            <pc:sldMk cId="4018166022" sldId="20976"/>
            <ac:picMk id="190" creationId="{17D6913A-3E47-415F-97F6-93BAD7AA008D}"/>
          </ac:picMkLst>
        </pc:picChg>
        <pc:picChg chg="add mod">
          <ac:chgData name="Prolay Ghosh" userId="b7af4a88-195a-4c77-9339-a13732cd096f" providerId="ADAL" clId="{3625CD61-9FE5-4276-9799-D1F011D1F900}" dt="2021-06-15T08:59:39.303" v="592" actId="14100"/>
          <ac:picMkLst>
            <pc:docMk/>
            <pc:sldMk cId="4018166022" sldId="20976"/>
            <ac:picMk id="192" creationId="{85509C40-58D5-4123-9E90-9F9CAE427A5C}"/>
          </ac:picMkLst>
        </pc:picChg>
      </pc:sldChg>
      <pc:sldChg chg="addSp delSp modSp add">
        <pc:chgData name="Prolay Ghosh" userId="b7af4a88-195a-4c77-9339-a13732cd096f" providerId="ADAL" clId="{3625CD61-9FE5-4276-9799-D1F011D1F900}" dt="2021-06-15T10:14:54.124" v="659" actId="20577"/>
        <pc:sldMkLst>
          <pc:docMk/>
          <pc:sldMk cId="817806310" sldId="20977"/>
        </pc:sldMkLst>
        <pc:spChg chg="mod">
          <ac:chgData name="Prolay Ghosh" userId="b7af4a88-195a-4c77-9339-a13732cd096f" providerId="ADAL" clId="{3625CD61-9FE5-4276-9799-D1F011D1F900}" dt="2021-06-15T10:03:00.165" v="651" actId="1076"/>
          <ac:spMkLst>
            <pc:docMk/>
            <pc:sldMk cId="817806310" sldId="20977"/>
            <ac:spMk id="13" creationId="{239AA915-84CC-44BF-A144-685A3B09C816}"/>
          </ac:spMkLst>
        </pc:spChg>
        <pc:spChg chg="mod">
          <ac:chgData name="Prolay Ghosh" userId="b7af4a88-195a-4c77-9339-a13732cd096f" providerId="ADAL" clId="{3625CD61-9FE5-4276-9799-D1F011D1F900}" dt="2021-06-15T10:14:54.124" v="659" actId="20577"/>
          <ac:spMkLst>
            <pc:docMk/>
            <pc:sldMk cId="817806310" sldId="20977"/>
            <ac:spMk id="14" creationId="{E8A22E53-C8FA-4977-8D2E-06DE9813367C}"/>
          </ac:spMkLst>
        </pc:spChg>
        <pc:spChg chg="del">
          <ac:chgData name="Prolay Ghosh" userId="b7af4a88-195a-4c77-9339-a13732cd096f" providerId="ADAL" clId="{3625CD61-9FE5-4276-9799-D1F011D1F900}" dt="2021-06-15T10:02:40.242" v="648" actId="478"/>
          <ac:spMkLst>
            <pc:docMk/>
            <pc:sldMk cId="817806310" sldId="20977"/>
            <ac:spMk id="191" creationId="{C0BC6A5C-D5D6-4BF5-9C26-1304C83907F2}"/>
          </ac:spMkLst>
        </pc:spChg>
        <pc:spChg chg="del">
          <ac:chgData name="Prolay Ghosh" userId="b7af4a88-195a-4c77-9339-a13732cd096f" providerId="ADAL" clId="{3625CD61-9FE5-4276-9799-D1F011D1F900}" dt="2021-06-15T10:02:37.347" v="647" actId="478"/>
          <ac:spMkLst>
            <pc:docMk/>
            <pc:sldMk cId="817806310" sldId="20977"/>
            <ac:spMk id="193" creationId="{474F1082-6531-49DA-A360-F430B9726853}"/>
          </ac:spMkLst>
        </pc:spChg>
        <pc:picChg chg="add del mod">
          <ac:chgData name="Prolay Ghosh" userId="b7af4a88-195a-4c77-9339-a13732cd096f" providerId="ADAL" clId="{3625CD61-9FE5-4276-9799-D1F011D1F900}" dt="2021-06-15T09:14:01.607" v="620" actId="478"/>
          <ac:picMkLst>
            <pc:docMk/>
            <pc:sldMk cId="817806310" sldId="20977"/>
            <ac:picMk id="4" creationId="{89B5BE54-6E28-4D93-ADB9-2B40A51E02CC}"/>
          </ac:picMkLst>
        </pc:picChg>
        <pc:picChg chg="del">
          <ac:chgData name="Prolay Ghosh" userId="b7af4a88-195a-4c77-9339-a13732cd096f" providerId="ADAL" clId="{3625CD61-9FE5-4276-9799-D1F011D1F900}" dt="2021-06-15T09:01:11.386" v="615" actId="478"/>
          <ac:picMkLst>
            <pc:docMk/>
            <pc:sldMk cId="817806310" sldId="20977"/>
            <ac:picMk id="5" creationId="{E194915D-A670-4AB9-B0F9-53DAF18BE6F7}"/>
          </ac:picMkLst>
        </pc:picChg>
        <pc:picChg chg="add mod">
          <ac:chgData name="Prolay Ghosh" userId="b7af4a88-195a-4c77-9339-a13732cd096f" providerId="ADAL" clId="{3625CD61-9FE5-4276-9799-D1F011D1F900}" dt="2021-06-15T09:59:27.331" v="626" actId="1076"/>
          <ac:picMkLst>
            <pc:docMk/>
            <pc:sldMk cId="817806310" sldId="20977"/>
            <ac:picMk id="7" creationId="{E01720D3-B84A-498A-891E-EEBCC884C3F6}"/>
          </ac:picMkLst>
        </pc:picChg>
        <pc:picChg chg="add del mod">
          <ac:chgData name="Prolay Ghosh" userId="b7af4a88-195a-4c77-9339-a13732cd096f" providerId="ADAL" clId="{3625CD61-9FE5-4276-9799-D1F011D1F900}" dt="2021-06-15T09:59:49.379" v="628" actId="478"/>
          <ac:picMkLst>
            <pc:docMk/>
            <pc:sldMk cId="817806310" sldId="20977"/>
            <ac:picMk id="9" creationId="{B3BC8107-66FA-423D-B2C8-7F8E12F1D103}"/>
          </ac:picMkLst>
        </pc:picChg>
        <pc:picChg chg="del">
          <ac:chgData name="Prolay Ghosh" userId="b7af4a88-195a-4c77-9339-a13732cd096f" providerId="ADAL" clId="{3625CD61-9FE5-4276-9799-D1F011D1F900}" dt="2021-06-15T09:01:11.386" v="615" actId="478"/>
          <ac:picMkLst>
            <pc:docMk/>
            <pc:sldMk cId="817806310" sldId="20977"/>
            <ac:picMk id="10" creationId="{AA25A2C4-08F3-4225-B53F-F41605D7D1BE}"/>
          </ac:picMkLst>
        </pc:picChg>
        <pc:picChg chg="del">
          <ac:chgData name="Prolay Ghosh" userId="b7af4a88-195a-4c77-9339-a13732cd096f" providerId="ADAL" clId="{3625CD61-9FE5-4276-9799-D1F011D1F900}" dt="2021-06-15T10:01:32.964" v="636" actId="478"/>
          <ac:picMkLst>
            <pc:docMk/>
            <pc:sldMk cId="817806310" sldId="20977"/>
            <ac:picMk id="12" creationId="{E241AA27-C213-4416-84DF-C32006A17726}"/>
          </ac:picMkLst>
        </pc:picChg>
        <pc:picChg chg="add mod">
          <ac:chgData name="Prolay Ghosh" userId="b7af4a88-195a-4c77-9339-a13732cd096f" providerId="ADAL" clId="{3625CD61-9FE5-4276-9799-D1F011D1F900}" dt="2021-06-15T10:01:08.829" v="635" actId="14100"/>
          <ac:picMkLst>
            <pc:docMk/>
            <pc:sldMk cId="817806310" sldId="20977"/>
            <ac:picMk id="15" creationId="{22011792-F16E-4F89-97A9-77C13E3C0E05}"/>
          </ac:picMkLst>
        </pc:picChg>
        <pc:picChg chg="add mod">
          <ac:chgData name="Prolay Ghosh" userId="b7af4a88-195a-4c77-9339-a13732cd096f" providerId="ADAL" clId="{3625CD61-9FE5-4276-9799-D1F011D1F900}" dt="2021-06-15T10:03:00.165" v="651" actId="1076"/>
          <ac:picMkLst>
            <pc:docMk/>
            <pc:sldMk cId="817806310" sldId="20977"/>
            <ac:picMk id="17" creationId="{C4DC21EB-266B-4C03-AF48-8ABA4EDA3468}"/>
          </ac:picMkLst>
        </pc:picChg>
        <pc:picChg chg="del">
          <ac:chgData name="Prolay Ghosh" userId="b7af4a88-195a-4c77-9339-a13732cd096f" providerId="ADAL" clId="{3625CD61-9FE5-4276-9799-D1F011D1F900}" dt="2021-06-15T10:02:37.347" v="647" actId="478"/>
          <ac:picMkLst>
            <pc:docMk/>
            <pc:sldMk cId="817806310" sldId="20977"/>
            <ac:picMk id="192" creationId="{85509C40-58D5-4123-9E90-9F9CAE427A5C}"/>
          </ac:picMkLst>
        </pc:picChg>
      </pc:sldChg>
      <pc:sldChg chg="addSp delSp modSp add">
        <pc:chgData name="Prolay Ghosh" userId="b7af4a88-195a-4c77-9339-a13732cd096f" providerId="ADAL" clId="{3625CD61-9FE5-4276-9799-D1F011D1F900}" dt="2021-06-15T10:16:31.176" v="684" actId="313"/>
        <pc:sldMkLst>
          <pc:docMk/>
          <pc:sldMk cId="2219760085" sldId="20978"/>
        </pc:sldMkLst>
        <pc:spChg chg="mod">
          <ac:chgData name="Prolay Ghosh" userId="b7af4a88-195a-4c77-9339-a13732cd096f" providerId="ADAL" clId="{3625CD61-9FE5-4276-9799-D1F011D1F900}" dt="2021-06-15T10:16:31.176" v="684" actId="313"/>
          <ac:spMkLst>
            <pc:docMk/>
            <pc:sldMk cId="2219760085" sldId="20978"/>
            <ac:spMk id="14" creationId="{E8A22E53-C8FA-4977-8D2E-06DE9813367C}"/>
          </ac:spMkLst>
        </pc:spChg>
        <pc:picChg chg="add mod">
          <ac:chgData name="Prolay Ghosh" userId="b7af4a88-195a-4c77-9339-a13732cd096f" providerId="ADAL" clId="{3625CD61-9FE5-4276-9799-D1F011D1F900}" dt="2021-06-15T10:16:00.610" v="669" actId="14100"/>
          <ac:picMkLst>
            <pc:docMk/>
            <pc:sldMk cId="2219760085" sldId="20978"/>
            <ac:picMk id="4" creationId="{33946568-5D90-48F0-9B88-43B7B5FF7A0F}"/>
          </ac:picMkLst>
        </pc:picChg>
        <pc:picChg chg="add mod">
          <ac:chgData name="Prolay Ghosh" userId="b7af4a88-195a-4c77-9339-a13732cd096f" providerId="ADAL" clId="{3625CD61-9FE5-4276-9799-D1F011D1F900}" dt="2021-06-15T10:16:03.362" v="670" actId="14100"/>
          <ac:picMkLst>
            <pc:docMk/>
            <pc:sldMk cId="2219760085" sldId="20978"/>
            <ac:picMk id="6" creationId="{EF256343-1894-4920-A3D0-160F11A9ECC3}"/>
          </ac:picMkLst>
        </pc:picChg>
        <pc:picChg chg="del">
          <ac:chgData name="Prolay Ghosh" userId="b7af4a88-195a-4c77-9339-a13732cd096f" providerId="ADAL" clId="{3625CD61-9FE5-4276-9799-D1F011D1F900}" dt="2021-06-15T10:14:40.147" v="653" actId="478"/>
          <ac:picMkLst>
            <pc:docMk/>
            <pc:sldMk cId="2219760085" sldId="20978"/>
            <ac:picMk id="7" creationId="{E01720D3-B84A-498A-891E-EEBCC884C3F6}"/>
          </ac:picMkLst>
        </pc:picChg>
        <pc:picChg chg="del">
          <ac:chgData name="Prolay Ghosh" userId="b7af4a88-195a-4c77-9339-a13732cd096f" providerId="ADAL" clId="{3625CD61-9FE5-4276-9799-D1F011D1F900}" dt="2021-06-15T10:14:40.147" v="653" actId="478"/>
          <ac:picMkLst>
            <pc:docMk/>
            <pc:sldMk cId="2219760085" sldId="20978"/>
            <ac:picMk id="15" creationId="{22011792-F16E-4F89-97A9-77C13E3C0E05}"/>
          </ac:picMkLst>
        </pc:picChg>
      </pc:sldChg>
      <pc:sldChg chg="addSp delSp modSp add">
        <pc:chgData name="Prolay Ghosh" userId="b7af4a88-195a-4c77-9339-a13732cd096f" providerId="ADAL" clId="{3625CD61-9FE5-4276-9799-D1F011D1F900}" dt="2021-06-15T10:26:27.321" v="740" actId="313"/>
        <pc:sldMkLst>
          <pc:docMk/>
          <pc:sldMk cId="2004742371" sldId="20979"/>
        </pc:sldMkLst>
        <pc:spChg chg="mod">
          <ac:chgData name="Prolay Ghosh" userId="b7af4a88-195a-4c77-9339-a13732cd096f" providerId="ADAL" clId="{3625CD61-9FE5-4276-9799-D1F011D1F900}" dt="2021-06-15T10:26:27.321" v="740" actId="313"/>
          <ac:spMkLst>
            <pc:docMk/>
            <pc:sldMk cId="2004742371" sldId="20979"/>
            <ac:spMk id="14" creationId="{E8A22E53-C8FA-4977-8D2E-06DE9813367C}"/>
          </ac:spMkLst>
        </pc:spChg>
        <pc:picChg chg="del">
          <ac:chgData name="Prolay Ghosh" userId="b7af4a88-195a-4c77-9339-a13732cd096f" providerId="ADAL" clId="{3625CD61-9FE5-4276-9799-D1F011D1F900}" dt="2021-06-15T10:23:55.586" v="687" actId="478"/>
          <ac:picMkLst>
            <pc:docMk/>
            <pc:sldMk cId="2004742371" sldId="20979"/>
            <ac:picMk id="4" creationId="{33946568-5D90-48F0-9B88-43B7B5FF7A0F}"/>
          </ac:picMkLst>
        </pc:picChg>
        <pc:picChg chg="add del mod">
          <ac:chgData name="Prolay Ghosh" userId="b7af4a88-195a-4c77-9339-a13732cd096f" providerId="ADAL" clId="{3625CD61-9FE5-4276-9799-D1F011D1F900}" dt="2021-06-15T10:24:13.137" v="689" actId="478"/>
          <ac:picMkLst>
            <pc:docMk/>
            <pc:sldMk cId="2004742371" sldId="20979"/>
            <ac:picMk id="5" creationId="{CF364241-D593-4BAE-83E3-316645B81747}"/>
          </ac:picMkLst>
        </pc:picChg>
        <pc:picChg chg="del">
          <ac:chgData name="Prolay Ghosh" userId="b7af4a88-195a-4c77-9339-a13732cd096f" providerId="ADAL" clId="{3625CD61-9FE5-4276-9799-D1F011D1F900}" dt="2021-06-15T10:23:54.778" v="686" actId="478"/>
          <ac:picMkLst>
            <pc:docMk/>
            <pc:sldMk cId="2004742371" sldId="20979"/>
            <ac:picMk id="6" creationId="{EF256343-1894-4920-A3D0-160F11A9ECC3}"/>
          </ac:picMkLst>
        </pc:picChg>
        <pc:picChg chg="add mod">
          <ac:chgData name="Prolay Ghosh" userId="b7af4a88-195a-4c77-9339-a13732cd096f" providerId="ADAL" clId="{3625CD61-9FE5-4276-9799-D1F011D1F900}" dt="2021-06-15T10:25:19.864" v="695" actId="14100"/>
          <ac:picMkLst>
            <pc:docMk/>
            <pc:sldMk cId="2004742371" sldId="20979"/>
            <ac:picMk id="8" creationId="{376B0CD4-9236-4D25-B92E-6E8DA39D8339}"/>
          </ac:picMkLst>
        </pc:picChg>
        <pc:picChg chg="add mod">
          <ac:chgData name="Prolay Ghosh" userId="b7af4a88-195a-4c77-9339-a13732cd096f" providerId="ADAL" clId="{3625CD61-9FE5-4276-9799-D1F011D1F900}" dt="2021-06-15T10:25:47.532" v="702" actId="14100"/>
          <ac:picMkLst>
            <pc:docMk/>
            <pc:sldMk cId="2004742371" sldId="20979"/>
            <ac:picMk id="10" creationId="{9EA0894D-91AD-4937-80CD-0120725E5DAC}"/>
          </ac:picMkLst>
        </pc:picChg>
      </pc:sldChg>
    </pc:docChg>
  </pc:docChgLst>
  <pc:docChgLst>
    <pc:chgData name="Divya Rajkumar Bhatia" userId="d84a7b11-0b78-4191-b9c5-1b53f671e4be" providerId="ADAL" clId="{BE574865-F7C1-4934-9A31-FDD746C3920B}"/>
    <pc:docChg chg="undo redo custSel addSld delSld modSld">
      <pc:chgData name="Divya Rajkumar Bhatia" userId="d84a7b11-0b78-4191-b9c5-1b53f671e4be" providerId="ADAL" clId="{BE574865-F7C1-4934-9A31-FDD746C3920B}" dt="2021-08-25T07:48:59.915" v="520" actId="47"/>
      <pc:docMkLst>
        <pc:docMk/>
      </pc:docMkLst>
      <pc:sldChg chg="del">
        <pc:chgData name="Divya Rajkumar Bhatia" userId="d84a7b11-0b78-4191-b9c5-1b53f671e4be" providerId="ADAL" clId="{BE574865-F7C1-4934-9A31-FDD746C3920B}" dt="2021-08-25T07:48:59.915" v="520" actId="47"/>
        <pc:sldMkLst>
          <pc:docMk/>
          <pc:sldMk cId="3517117536" sldId="20962"/>
        </pc:sldMkLst>
      </pc:sldChg>
      <pc:sldChg chg="del">
        <pc:chgData name="Divya Rajkumar Bhatia" userId="d84a7b11-0b78-4191-b9c5-1b53f671e4be" providerId="ADAL" clId="{BE574865-F7C1-4934-9A31-FDD746C3920B}" dt="2021-08-25T07:48:59.915" v="520" actId="47"/>
        <pc:sldMkLst>
          <pc:docMk/>
          <pc:sldMk cId="1869670360" sldId="20963"/>
        </pc:sldMkLst>
      </pc:sldChg>
      <pc:sldChg chg="del">
        <pc:chgData name="Divya Rajkumar Bhatia" userId="d84a7b11-0b78-4191-b9c5-1b53f671e4be" providerId="ADAL" clId="{BE574865-F7C1-4934-9A31-FDD746C3920B}" dt="2021-08-25T07:48:59.915" v="520" actId="47"/>
        <pc:sldMkLst>
          <pc:docMk/>
          <pc:sldMk cId="1360536061" sldId="20964"/>
        </pc:sldMkLst>
      </pc:sldChg>
      <pc:sldChg chg="del">
        <pc:chgData name="Divya Rajkumar Bhatia" userId="d84a7b11-0b78-4191-b9c5-1b53f671e4be" providerId="ADAL" clId="{BE574865-F7C1-4934-9A31-FDD746C3920B}" dt="2021-08-25T07:48:59.915" v="520" actId="47"/>
        <pc:sldMkLst>
          <pc:docMk/>
          <pc:sldMk cId="403565801" sldId="20965"/>
        </pc:sldMkLst>
      </pc:sldChg>
      <pc:sldChg chg="del">
        <pc:chgData name="Divya Rajkumar Bhatia" userId="d84a7b11-0b78-4191-b9c5-1b53f671e4be" providerId="ADAL" clId="{BE574865-F7C1-4934-9A31-FDD746C3920B}" dt="2021-08-25T07:48:59.915" v="520" actId="47"/>
        <pc:sldMkLst>
          <pc:docMk/>
          <pc:sldMk cId="1520479645" sldId="20966"/>
        </pc:sldMkLst>
      </pc:sldChg>
      <pc:sldChg chg="del">
        <pc:chgData name="Divya Rajkumar Bhatia" userId="d84a7b11-0b78-4191-b9c5-1b53f671e4be" providerId="ADAL" clId="{BE574865-F7C1-4934-9A31-FDD746C3920B}" dt="2021-08-25T07:48:59.915" v="520" actId="47"/>
        <pc:sldMkLst>
          <pc:docMk/>
          <pc:sldMk cId="428942994" sldId="20967"/>
        </pc:sldMkLst>
      </pc:sldChg>
      <pc:sldChg chg="del">
        <pc:chgData name="Divya Rajkumar Bhatia" userId="d84a7b11-0b78-4191-b9c5-1b53f671e4be" providerId="ADAL" clId="{BE574865-F7C1-4934-9A31-FDD746C3920B}" dt="2021-08-25T07:48:59.915" v="520" actId="47"/>
        <pc:sldMkLst>
          <pc:docMk/>
          <pc:sldMk cId="1162462017" sldId="20968"/>
        </pc:sldMkLst>
      </pc:sldChg>
      <pc:sldChg chg="del">
        <pc:chgData name="Divya Rajkumar Bhatia" userId="d84a7b11-0b78-4191-b9c5-1b53f671e4be" providerId="ADAL" clId="{BE574865-F7C1-4934-9A31-FDD746C3920B}" dt="2021-08-25T07:48:59.915" v="520" actId="47"/>
        <pc:sldMkLst>
          <pc:docMk/>
          <pc:sldMk cId="3563288150" sldId="20969"/>
        </pc:sldMkLst>
      </pc:sldChg>
      <pc:sldChg chg="del">
        <pc:chgData name="Divya Rajkumar Bhatia" userId="d84a7b11-0b78-4191-b9c5-1b53f671e4be" providerId="ADAL" clId="{BE574865-F7C1-4934-9A31-FDD746C3920B}" dt="2021-08-25T07:48:59.915" v="520" actId="47"/>
        <pc:sldMkLst>
          <pc:docMk/>
          <pc:sldMk cId="2928407292" sldId="20970"/>
        </pc:sldMkLst>
      </pc:sldChg>
      <pc:sldChg chg="del">
        <pc:chgData name="Divya Rajkumar Bhatia" userId="d84a7b11-0b78-4191-b9c5-1b53f671e4be" providerId="ADAL" clId="{BE574865-F7C1-4934-9A31-FDD746C3920B}" dt="2021-08-25T07:48:59.915" v="520" actId="47"/>
        <pc:sldMkLst>
          <pc:docMk/>
          <pc:sldMk cId="656890343" sldId="20971"/>
        </pc:sldMkLst>
      </pc:sldChg>
      <pc:sldChg chg="del">
        <pc:chgData name="Divya Rajkumar Bhatia" userId="d84a7b11-0b78-4191-b9c5-1b53f671e4be" providerId="ADAL" clId="{BE574865-F7C1-4934-9A31-FDD746C3920B}" dt="2021-08-25T07:48:59.915" v="520" actId="47"/>
        <pc:sldMkLst>
          <pc:docMk/>
          <pc:sldMk cId="2091202369" sldId="20972"/>
        </pc:sldMkLst>
      </pc:sldChg>
      <pc:sldChg chg="del">
        <pc:chgData name="Divya Rajkumar Bhatia" userId="d84a7b11-0b78-4191-b9c5-1b53f671e4be" providerId="ADAL" clId="{BE574865-F7C1-4934-9A31-FDD746C3920B}" dt="2021-08-25T07:48:59.915" v="520" actId="47"/>
        <pc:sldMkLst>
          <pc:docMk/>
          <pc:sldMk cId="1522897806" sldId="20973"/>
        </pc:sldMkLst>
      </pc:sldChg>
      <pc:sldChg chg="del">
        <pc:chgData name="Divya Rajkumar Bhatia" userId="d84a7b11-0b78-4191-b9c5-1b53f671e4be" providerId="ADAL" clId="{BE574865-F7C1-4934-9A31-FDD746C3920B}" dt="2021-08-25T07:48:59.915" v="520" actId="47"/>
        <pc:sldMkLst>
          <pc:docMk/>
          <pc:sldMk cId="1759216574" sldId="20974"/>
        </pc:sldMkLst>
      </pc:sldChg>
      <pc:sldChg chg="del">
        <pc:chgData name="Divya Rajkumar Bhatia" userId="d84a7b11-0b78-4191-b9c5-1b53f671e4be" providerId="ADAL" clId="{BE574865-F7C1-4934-9A31-FDD746C3920B}" dt="2021-08-25T07:48:59.915" v="520" actId="47"/>
        <pc:sldMkLst>
          <pc:docMk/>
          <pc:sldMk cId="969161395" sldId="20975"/>
        </pc:sldMkLst>
      </pc:sldChg>
      <pc:sldChg chg="del">
        <pc:chgData name="Divya Rajkumar Bhatia" userId="d84a7b11-0b78-4191-b9c5-1b53f671e4be" providerId="ADAL" clId="{BE574865-F7C1-4934-9A31-FDD746C3920B}" dt="2021-08-25T07:48:59.915" v="520" actId="47"/>
        <pc:sldMkLst>
          <pc:docMk/>
          <pc:sldMk cId="4018166022" sldId="20976"/>
        </pc:sldMkLst>
      </pc:sldChg>
      <pc:sldChg chg="del">
        <pc:chgData name="Divya Rajkumar Bhatia" userId="d84a7b11-0b78-4191-b9c5-1b53f671e4be" providerId="ADAL" clId="{BE574865-F7C1-4934-9A31-FDD746C3920B}" dt="2021-08-25T07:48:59.915" v="520" actId="47"/>
        <pc:sldMkLst>
          <pc:docMk/>
          <pc:sldMk cId="817806310" sldId="20977"/>
        </pc:sldMkLst>
      </pc:sldChg>
      <pc:sldChg chg="del">
        <pc:chgData name="Divya Rajkumar Bhatia" userId="d84a7b11-0b78-4191-b9c5-1b53f671e4be" providerId="ADAL" clId="{BE574865-F7C1-4934-9A31-FDD746C3920B}" dt="2021-08-25T07:48:59.915" v="520" actId="47"/>
        <pc:sldMkLst>
          <pc:docMk/>
          <pc:sldMk cId="2219760085" sldId="20978"/>
        </pc:sldMkLst>
      </pc:sldChg>
      <pc:sldChg chg="del">
        <pc:chgData name="Divya Rajkumar Bhatia" userId="d84a7b11-0b78-4191-b9c5-1b53f671e4be" providerId="ADAL" clId="{BE574865-F7C1-4934-9A31-FDD746C3920B}" dt="2021-08-25T07:48:59.915" v="520" actId="47"/>
        <pc:sldMkLst>
          <pc:docMk/>
          <pc:sldMk cId="2004742371" sldId="20979"/>
        </pc:sldMkLst>
      </pc:sldChg>
      <pc:sldChg chg="addSp delSp modSp new mod">
        <pc:chgData name="Divya Rajkumar Bhatia" userId="d84a7b11-0b78-4191-b9c5-1b53f671e4be" providerId="ADAL" clId="{BE574865-F7C1-4934-9A31-FDD746C3920B}" dt="2021-08-25T06:40:35.058" v="164" actId="478"/>
        <pc:sldMkLst>
          <pc:docMk/>
          <pc:sldMk cId="1374643544" sldId="20980"/>
        </pc:sldMkLst>
        <pc:spChg chg="del">
          <ac:chgData name="Divya Rajkumar Bhatia" userId="d84a7b11-0b78-4191-b9c5-1b53f671e4be" providerId="ADAL" clId="{BE574865-F7C1-4934-9A31-FDD746C3920B}" dt="2021-08-25T06:17:46.629" v="27" actId="1032"/>
          <ac:spMkLst>
            <pc:docMk/>
            <pc:sldMk cId="1374643544" sldId="20980"/>
            <ac:spMk id="2" creationId="{B28006E7-1A77-40A9-B782-F688A5944F5C}"/>
          </ac:spMkLst>
        </pc:spChg>
        <pc:spChg chg="mod">
          <ac:chgData name="Divya Rajkumar Bhatia" userId="d84a7b11-0b78-4191-b9c5-1b53f671e4be" providerId="ADAL" clId="{BE574865-F7C1-4934-9A31-FDD746C3920B}" dt="2021-08-25T06:29:45.870" v="118" actId="20577"/>
          <ac:spMkLst>
            <pc:docMk/>
            <pc:sldMk cId="1374643544" sldId="20980"/>
            <ac:spMk id="3" creationId="{967BE67E-54AC-4975-8802-0360863835CF}"/>
          </ac:spMkLst>
        </pc:spChg>
        <pc:spChg chg="del">
          <ac:chgData name="Divya Rajkumar Bhatia" userId="d84a7b11-0b78-4191-b9c5-1b53f671e4be" providerId="ADAL" clId="{BE574865-F7C1-4934-9A31-FDD746C3920B}" dt="2021-08-25T06:40:35.058" v="164" actId="478"/>
          <ac:spMkLst>
            <pc:docMk/>
            <pc:sldMk cId="1374643544" sldId="20980"/>
            <ac:spMk id="4" creationId="{5900B994-A6A5-4338-BA86-6C652BA16A15}"/>
          </ac:spMkLst>
        </pc:spChg>
        <pc:graphicFrameChg chg="add mod">
          <ac:chgData name="Divya Rajkumar Bhatia" userId="d84a7b11-0b78-4191-b9c5-1b53f671e4be" providerId="ADAL" clId="{BE574865-F7C1-4934-9A31-FDD746C3920B}" dt="2021-08-25T06:31:40.791" v="122" actId="14100"/>
          <ac:graphicFrameMkLst>
            <pc:docMk/>
            <pc:sldMk cId="1374643544" sldId="20980"/>
            <ac:graphicFrameMk id="5" creationId="{4ADC7EDF-B9F0-4E93-BFB6-903D93A994DB}"/>
          </ac:graphicFrameMkLst>
        </pc:graphicFrameChg>
        <pc:graphicFrameChg chg="add mod">
          <ac:chgData name="Divya Rajkumar Bhatia" userId="d84a7b11-0b78-4191-b9c5-1b53f671e4be" providerId="ADAL" clId="{BE574865-F7C1-4934-9A31-FDD746C3920B}" dt="2021-08-25T06:36:09.575" v="163" actId="403"/>
          <ac:graphicFrameMkLst>
            <pc:docMk/>
            <pc:sldMk cId="1374643544" sldId="20980"/>
            <ac:graphicFrameMk id="6" creationId="{BBA015C5-A577-4930-8296-2D1D0CDE5A32}"/>
          </ac:graphicFrameMkLst>
        </pc:graphicFrameChg>
      </pc:sldChg>
      <pc:sldChg chg="addSp delSp modSp add mod">
        <pc:chgData name="Divya Rajkumar Bhatia" userId="d84a7b11-0b78-4191-b9c5-1b53f671e4be" providerId="ADAL" clId="{BE574865-F7C1-4934-9A31-FDD746C3920B}" dt="2021-08-25T07:28:09.403" v="433"/>
        <pc:sldMkLst>
          <pc:docMk/>
          <pc:sldMk cId="134942338" sldId="20981"/>
        </pc:sldMkLst>
        <pc:spChg chg="add del mod">
          <ac:chgData name="Divya Rajkumar Bhatia" userId="d84a7b11-0b78-4191-b9c5-1b53f671e4be" providerId="ADAL" clId="{BE574865-F7C1-4934-9A31-FDD746C3920B}" dt="2021-08-25T07:11:40.983" v="176" actId="478"/>
          <ac:spMkLst>
            <pc:docMk/>
            <pc:sldMk cId="134942338" sldId="20981"/>
            <ac:spMk id="4" creationId="{9757C8EC-00F4-4BB2-8143-510AE98B8935}"/>
          </ac:spMkLst>
        </pc:spChg>
        <pc:spChg chg="add mod">
          <ac:chgData name="Divya Rajkumar Bhatia" userId="d84a7b11-0b78-4191-b9c5-1b53f671e4be" providerId="ADAL" clId="{BE574865-F7C1-4934-9A31-FDD746C3920B}" dt="2021-08-25T07:27:08.115" v="421" actId="12789"/>
          <ac:spMkLst>
            <pc:docMk/>
            <pc:sldMk cId="134942338" sldId="20981"/>
            <ac:spMk id="8" creationId="{034FD45B-4D14-477D-8546-2899DC24182F}"/>
          </ac:spMkLst>
        </pc:spChg>
        <pc:spChg chg="add mod">
          <ac:chgData name="Divya Rajkumar Bhatia" userId="d84a7b11-0b78-4191-b9c5-1b53f671e4be" providerId="ADAL" clId="{BE574865-F7C1-4934-9A31-FDD746C3920B}" dt="2021-08-25T07:27:08.115" v="421" actId="12789"/>
          <ac:spMkLst>
            <pc:docMk/>
            <pc:sldMk cId="134942338" sldId="20981"/>
            <ac:spMk id="9" creationId="{CD67CFB1-622E-46DF-92D3-7CFEF8A2C302}"/>
          </ac:spMkLst>
        </pc:spChg>
        <pc:graphicFrameChg chg="del">
          <ac:chgData name="Divya Rajkumar Bhatia" userId="d84a7b11-0b78-4191-b9c5-1b53f671e4be" providerId="ADAL" clId="{BE574865-F7C1-4934-9A31-FDD746C3920B}" dt="2021-08-25T07:11:26.091" v="175" actId="478"/>
          <ac:graphicFrameMkLst>
            <pc:docMk/>
            <pc:sldMk cId="134942338" sldId="20981"/>
            <ac:graphicFrameMk id="5" creationId="{4ADC7EDF-B9F0-4E93-BFB6-903D93A994DB}"/>
          </ac:graphicFrameMkLst>
        </pc:graphicFrameChg>
        <pc:graphicFrameChg chg="del">
          <ac:chgData name="Divya Rajkumar Bhatia" userId="d84a7b11-0b78-4191-b9c5-1b53f671e4be" providerId="ADAL" clId="{BE574865-F7C1-4934-9A31-FDD746C3920B}" dt="2021-08-25T07:11:45.047" v="177" actId="478"/>
          <ac:graphicFrameMkLst>
            <pc:docMk/>
            <pc:sldMk cId="134942338" sldId="20981"/>
            <ac:graphicFrameMk id="6" creationId="{BBA015C5-A577-4930-8296-2D1D0CDE5A32}"/>
          </ac:graphicFrameMkLst>
        </pc:graphicFrameChg>
        <pc:graphicFrameChg chg="add mod">
          <ac:chgData name="Divya Rajkumar Bhatia" userId="d84a7b11-0b78-4191-b9c5-1b53f671e4be" providerId="ADAL" clId="{BE574865-F7C1-4934-9A31-FDD746C3920B}" dt="2021-08-25T07:28:09.403" v="433"/>
          <ac:graphicFrameMkLst>
            <pc:docMk/>
            <pc:sldMk cId="134942338" sldId="20981"/>
            <ac:graphicFrameMk id="7" creationId="{CCA0F53B-61AD-4F9E-8357-B1BDEC88C00A}"/>
          </ac:graphicFrameMkLst>
        </pc:graphicFrameChg>
      </pc:sldChg>
      <pc:sldChg chg="delSp modSp add del mod">
        <pc:chgData name="Divya Rajkumar Bhatia" userId="d84a7b11-0b78-4191-b9c5-1b53f671e4be" providerId="ADAL" clId="{BE574865-F7C1-4934-9A31-FDD746C3920B}" dt="2021-08-25T07:10:51.913" v="173" actId="47"/>
        <pc:sldMkLst>
          <pc:docMk/>
          <pc:sldMk cId="2545927960" sldId="20981"/>
        </pc:sldMkLst>
        <pc:graphicFrameChg chg="mod">
          <ac:chgData name="Divya Rajkumar Bhatia" userId="d84a7b11-0b78-4191-b9c5-1b53f671e4be" providerId="ADAL" clId="{BE574865-F7C1-4934-9A31-FDD746C3920B}" dt="2021-08-25T07:10:44.060" v="172" actId="13782"/>
          <ac:graphicFrameMkLst>
            <pc:docMk/>
            <pc:sldMk cId="2545927960" sldId="20981"/>
            <ac:graphicFrameMk id="5" creationId="{4ADC7EDF-B9F0-4E93-BFB6-903D93A994DB}"/>
          </ac:graphicFrameMkLst>
        </pc:graphicFrameChg>
        <pc:graphicFrameChg chg="del">
          <ac:chgData name="Divya Rajkumar Bhatia" userId="d84a7b11-0b78-4191-b9c5-1b53f671e4be" providerId="ADAL" clId="{BE574865-F7C1-4934-9A31-FDD746C3920B}" dt="2021-08-25T06:41:56.759" v="166" actId="478"/>
          <ac:graphicFrameMkLst>
            <pc:docMk/>
            <pc:sldMk cId="2545927960" sldId="20981"/>
            <ac:graphicFrameMk id="6" creationId="{BBA015C5-A577-4930-8296-2D1D0CDE5A32}"/>
          </ac:graphicFrameMkLst>
        </pc:graphicFrameChg>
      </pc:sldChg>
      <pc:sldChg chg="addSp delSp modSp add mod">
        <pc:chgData name="Divya Rajkumar Bhatia" userId="d84a7b11-0b78-4191-b9c5-1b53f671e4be" providerId="ADAL" clId="{BE574865-F7C1-4934-9A31-FDD746C3920B}" dt="2021-08-25T07:47:49.031" v="519" actId="20577"/>
        <pc:sldMkLst>
          <pc:docMk/>
          <pc:sldMk cId="669974973" sldId="20982"/>
        </pc:sldMkLst>
        <pc:spChg chg="mod">
          <ac:chgData name="Divya Rajkumar Bhatia" userId="d84a7b11-0b78-4191-b9c5-1b53f671e4be" providerId="ADAL" clId="{BE574865-F7C1-4934-9A31-FDD746C3920B}" dt="2021-08-25T07:40:29.592" v="439"/>
          <ac:spMkLst>
            <pc:docMk/>
            <pc:sldMk cId="669974973" sldId="20982"/>
            <ac:spMk id="3" creationId="{967BE67E-54AC-4975-8802-0360863835CF}"/>
          </ac:spMkLst>
        </pc:spChg>
        <pc:spChg chg="add del mod">
          <ac:chgData name="Divya Rajkumar Bhatia" userId="d84a7b11-0b78-4191-b9c5-1b53f671e4be" providerId="ADAL" clId="{BE574865-F7C1-4934-9A31-FDD746C3920B}" dt="2021-08-25T07:40:21.314" v="436" actId="478"/>
          <ac:spMkLst>
            <pc:docMk/>
            <pc:sldMk cId="669974973" sldId="20982"/>
            <ac:spMk id="4" creationId="{443D8849-26D0-4CBB-B35F-87384448E37C}"/>
          </ac:spMkLst>
        </pc:spChg>
        <pc:spChg chg="add mod">
          <ac:chgData name="Divya Rajkumar Bhatia" userId="d84a7b11-0b78-4191-b9c5-1b53f671e4be" providerId="ADAL" clId="{BE574865-F7C1-4934-9A31-FDD746C3920B}" dt="2021-08-25T07:45:09.164" v="501" actId="5793"/>
          <ac:spMkLst>
            <pc:docMk/>
            <pc:sldMk cId="669974973" sldId="20982"/>
            <ac:spMk id="7" creationId="{D8571A51-2130-406A-B95A-18EE7616E96E}"/>
          </ac:spMkLst>
        </pc:spChg>
        <pc:spChg chg="add mod">
          <ac:chgData name="Divya Rajkumar Bhatia" userId="d84a7b11-0b78-4191-b9c5-1b53f671e4be" providerId="ADAL" clId="{BE574865-F7C1-4934-9A31-FDD746C3920B}" dt="2021-08-25T07:40:48.950" v="453" actId="20577"/>
          <ac:spMkLst>
            <pc:docMk/>
            <pc:sldMk cId="669974973" sldId="20982"/>
            <ac:spMk id="8" creationId="{014204B3-31A8-40F8-9A5C-CCED69C3C6DF}"/>
          </ac:spMkLst>
        </pc:spChg>
        <pc:spChg chg="add mod">
          <ac:chgData name="Divya Rajkumar Bhatia" userId="d84a7b11-0b78-4191-b9c5-1b53f671e4be" providerId="ADAL" clId="{BE574865-F7C1-4934-9A31-FDD746C3920B}" dt="2021-08-25T07:47:49.031" v="519" actId="20577"/>
          <ac:spMkLst>
            <pc:docMk/>
            <pc:sldMk cId="669974973" sldId="20982"/>
            <ac:spMk id="10" creationId="{430D905A-4EDF-4AC5-BE90-CD6AFEEF5499}"/>
          </ac:spMkLst>
        </pc:spChg>
        <pc:graphicFrameChg chg="del">
          <ac:chgData name="Divya Rajkumar Bhatia" userId="d84a7b11-0b78-4191-b9c5-1b53f671e4be" providerId="ADAL" clId="{BE574865-F7C1-4934-9A31-FDD746C3920B}" dt="2021-08-25T07:40:12.625" v="435" actId="478"/>
          <ac:graphicFrameMkLst>
            <pc:docMk/>
            <pc:sldMk cId="669974973" sldId="20982"/>
            <ac:graphicFrameMk id="5" creationId="{4ADC7EDF-B9F0-4E93-BFB6-903D93A994DB}"/>
          </ac:graphicFrameMkLst>
        </pc:graphicFrameChg>
        <pc:graphicFrameChg chg="del mod">
          <ac:chgData name="Divya Rajkumar Bhatia" userId="d84a7b11-0b78-4191-b9c5-1b53f671e4be" providerId="ADAL" clId="{BE574865-F7C1-4934-9A31-FDD746C3920B}" dt="2021-08-25T07:40:25.263" v="438" actId="478"/>
          <ac:graphicFrameMkLst>
            <pc:docMk/>
            <pc:sldMk cId="669974973" sldId="20982"/>
            <ac:graphicFrameMk id="6" creationId="{BBA015C5-A577-4930-8296-2D1D0CDE5A32}"/>
          </ac:graphicFrameMkLst>
        </pc:graphicFrameChg>
        <pc:picChg chg="add mod">
          <ac:chgData name="Divya Rajkumar Bhatia" userId="d84a7b11-0b78-4191-b9c5-1b53f671e4be" providerId="ADAL" clId="{BE574865-F7C1-4934-9A31-FDD746C3920B}" dt="2021-08-25T07:43:00.745" v="474" actId="14100"/>
          <ac:picMkLst>
            <pc:docMk/>
            <pc:sldMk cId="669974973" sldId="20982"/>
            <ac:picMk id="9" creationId="{723AFABF-9099-4DDB-AD8B-7F457F8F5A71}"/>
          </ac:picMkLst>
        </pc:picChg>
      </pc:sldChg>
    </pc:docChg>
  </pc:docChgLst>
  <pc:docChgLst>
    <pc:chgData name="Divya Rajkumar Bhatia" userId="d84a7b11-0b78-4191-b9c5-1b53f671e4be" providerId="ADAL" clId="{D9E8CE8E-1D6D-4808-87ED-2D372CCDB95C}"/>
    <pc:docChg chg="undo redo custSel addSld delSld modSld sldOrd">
      <pc:chgData name="Divya Rajkumar Bhatia" userId="d84a7b11-0b78-4191-b9c5-1b53f671e4be" providerId="ADAL" clId="{D9E8CE8E-1D6D-4808-87ED-2D372CCDB95C}" dt="2021-11-16T12:54:48.970" v="2158"/>
      <pc:docMkLst>
        <pc:docMk/>
      </pc:docMkLst>
      <pc:sldChg chg="addSp delSp modSp mod">
        <pc:chgData name="Divya Rajkumar Bhatia" userId="d84a7b11-0b78-4191-b9c5-1b53f671e4be" providerId="ADAL" clId="{D9E8CE8E-1D6D-4808-87ED-2D372CCDB95C}" dt="2021-11-16T12:41:35.387" v="969" actId="20577"/>
        <pc:sldMkLst>
          <pc:docMk/>
          <pc:sldMk cId="1374643544" sldId="20980"/>
        </pc:sldMkLst>
        <pc:spChg chg="mod">
          <ac:chgData name="Divya Rajkumar Bhatia" userId="d84a7b11-0b78-4191-b9c5-1b53f671e4be" providerId="ADAL" clId="{D9E8CE8E-1D6D-4808-87ED-2D372CCDB95C}" dt="2021-11-16T12:06:00.444" v="14" actId="20577"/>
          <ac:spMkLst>
            <pc:docMk/>
            <pc:sldMk cId="1374643544" sldId="20980"/>
            <ac:spMk id="3" creationId="{967BE67E-54AC-4975-8802-0360863835CF}"/>
          </ac:spMkLst>
        </pc:spChg>
        <pc:spChg chg="add del mod">
          <ac:chgData name="Divya Rajkumar Bhatia" userId="d84a7b11-0b78-4191-b9c5-1b53f671e4be" providerId="ADAL" clId="{D9E8CE8E-1D6D-4808-87ED-2D372CCDB95C}" dt="2021-11-16T12:10:56.417" v="16" actId="22"/>
          <ac:spMkLst>
            <pc:docMk/>
            <pc:sldMk cId="1374643544" sldId="20980"/>
            <ac:spMk id="4" creationId="{2F578DAB-8ED4-4E28-AEBA-B6BE0B4AD5F7}"/>
          </ac:spMkLst>
        </pc:spChg>
        <pc:spChg chg="add del mod">
          <ac:chgData name="Divya Rajkumar Bhatia" userId="d84a7b11-0b78-4191-b9c5-1b53f671e4be" providerId="ADAL" clId="{D9E8CE8E-1D6D-4808-87ED-2D372CCDB95C}" dt="2021-11-16T12:12:54.478" v="28" actId="478"/>
          <ac:spMkLst>
            <pc:docMk/>
            <pc:sldMk cId="1374643544" sldId="20980"/>
            <ac:spMk id="10" creationId="{0472A8EA-5737-4163-8D55-2556FC13D185}"/>
          </ac:spMkLst>
        </pc:spChg>
        <pc:spChg chg="add mod">
          <ac:chgData name="Divya Rajkumar Bhatia" userId="d84a7b11-0b78-4191-b9c5-1b53f671e4be" providerId="ADAL" clId="{D9E8CE8E-1D6D-4808-87ED-2D372CCDB95C}" dt="2021-11-16T12:41:35.387" v="969" actId="20577"/>
          <ac:spMkLst>
            <pc:docMk/>
            <pc:sldMk cId="1374643544" sldId="20980"/>
            <ac:spMk id="13" creationId="{5B355F40-164E-47A0-AF39-BED2B3A2DD7B}"/>
          </ac:spMkLst>
        </pc:spChg>
        <pc:graphicFrameChg chg="del">
          <ac:chgData name="Divya Rajkumar Bhatia" userId="d84a7b11-0b78-4191-b9c5-1b53f671e4be" providerId="ADAL" clId="{D9E8CE8E-1D6D-4808-87ED-2D372CCDB95C}" dt="2021-11-16T12:10:49.343" v="15" actId="478"/>
          <ac:graphicFrameMkLst>
            <pc:docMk/>
            <pc:sldMk cId="1374643544" sldId="20980"/>
            <ac:graphicFrameMk id="5" creationId="{4ADC7EDF-B9F0-4E93-BFB6-903D93A994DB}"/>
          </ac:graphicFrameMkLst>
        </pc:graphicFrameChg>
        <pc:graphicFrameChg chg="del">
          <ac:chgData name="Divya Rajkumar Bhatia" userId="d84a7b11-0b78-4191-b9c5-1b53f671e4be" providerId="ADAL" clId="{D9E8CE8E-1D6D-4808-87ED-2D372CCDB95C}" dt="2021-11-16T12:12:58.173" v="29" actId="478"/>
          <ac:graphicFrameMkLst>
            <pc:docMk/>
            <pc:sldMk cId="1374643544" sldId="20980"/>
            <ac:graphicFrameMk id="6" creationId="{BBA015C5-A577-4930-8296-2D1D0CDE5A32}"/>
          </ac:graphicFrameMkLst>
        </pc:graphicFrameChg>
        <pc:picChg chg="add del mod ord">
          <ac:chgData name="Divya Rajkumar Bhatia" userId="d84a7b11-0b78-4191-b9c5-1b53f671e4be" providerId="ADAL" clId="{D9E8CE8E-1D6D-4808-87ED-2D372CCDB95C}" dt="2021-11-16T12:12:44.690" v="25" actId="478"/>
          <ac:picMkLst>
            <pc:docMk/>
            <pc:sldMk cId="1374643544" sldId="20980"/>
            <ac:picMk id="8" creationId="{52AF8198-023F-45A8-820D-CDC0FF5B932E}"/>
          </ac:picMkLst>
        </pc:picChg>
        <pc:picChg chg="add mod">
          <ac:chgData name="Divya Rajkumar Bhatia" userId="d84a7b11-0b78-4191-b9c5-1b53f671e4be" providerId="ADAL" clId="{D9E8CE8E-1D6D-4808-87ED-2D372CCDB95C}" dt="2021-11-16T12:40:55.947" v="906" actId="14100"/>
          <ac:picMkLst>
            <pc:docMk/>
            <pc:sldMk cId="1374643544" sldId="20980"/>
            <ac:picMk id="12" creationId="{C5870D7B-246F-40CC-B589-634E9EF47CAC}"/>
          </ac:picMkLst>
        </pc:picChg>
      </pc:sldChg>
      <pc:sldChg chg="del">
        <pc:chgData name="Divya Rajkumar Bhatia" userId="d84a7b11-0b78-4191-b9c5-1b53f671e4be" providerId="ADAL" clId="{D9E8CE8E-1D6D-4808-87ED-2D372CCDB95C}" dt="2021-11-16T12:22:40.134" v="538" actId="47"/>
        <pc:sldMkLst>
          <pc:docMk/>
          <pc:sldMk cId="134942338" sldId="20981"/>
        </pc:sldMkLst>
      </pc:sldChg>
      <pc:sldChg chg="addSp delSp modSp mod ord">
        <pc:chgData name="Divya Rajkumar Bhatia" userId="d84a7b11-0b78-4191-b9c5-1b53f671e4be" providerId="ADAL" clId="{D9E8CE8E-1D6D-4808-87ED-2D372CCDB95C}" dt="2021-11-16T12:51:07.436" v="2157" actId="20577"/>
        <pc:sldMkLst>
          <pc:docMk/>
          <pc:sldMk cId="669974973" sldId="20982"/>
        </pc:sldMkLst>
        <pc:spChg chg="mod">
          <ac:chgData name="Divya Rajkumar Bhatia" userId="d84a7b11-0b78-4191-b9c5-1b53f671e4be" providerId="ADAL" clId="{D9E8CE8E-1D6D-4808-87ED-2D372CCDB95C}" dt="2021-11-16T12:43:13.595" v="1006" actId="20577"/>
          <ac:spMkLst>
            <pc:docMk/>
            <pc:sldMk cId="669974973" sldId="20982"/>
            <ac:spMk id="3" creationId="{967BE67E-54AC-4975-8802-0360863835CF}"/>
          </ac:spMkLst>
        </pc:spChg>
        <pc:spChg chg="add del mod">
          <ac:chgData name="Divya Rajkumar Bhatia" userId="d84a7b11-0b78-4191-b9c5-1b53f671e4be" providerId="ADAL" clId="{D9E8CE8E-1D6D-4808-87ED-2D372CCDB95C}" dt="2021-11-16T12:42:42.379" v="991" actId="478"/>
          <ac:spMkLst>
            <pc:docMk/>
            <pc:sldMk cId="669974973" sldId="20982"/>
            <ac:spMk id="4" creationId="{DDFF6D03-E8B8-437B-B084-9E52FE71A115}"/>
          </ac:spMkLst>
        </pc:spChg>
        <pc:spChg chg="mod">
          <ac:chgData name="Divya Rajkumar Bhatia" userId="d84a7b11-0b78-4191-b9c5-1b53f671e4be" providerId="ADAL" clId="{D9E8CE8E-1D6D-4808-87ED-2D372CCDB95C}" dt="2021-11-16T12:51:07.436" v="2157" actId="20577"/>
          <ac:spMkLst>
            <pc:docMk/>
            <pc:sldMk cId="669974973" sldId="20982"/>
            <ac:spMk id="7" creationId="{D8571A51-2130-406A-B95A-18EE7616E96E}"/>
          </ac:spMkLst>
        </pc:spChg>
        <pc:spChg chg="del">
          <ac:chgData name="Divya Rajkumar Bhatia" userId="d84a7b11-0b78-4191-b9c5-1b53f671e4be" providerId="ADAL" clId="{D9E8CE8E-1D6D-4808-87ED-2D372CCDB95C}" dt="2021-11-16T12:42:38.942" v="990" actId="478"/>
          <ac:spMkLst>
            <pc:docMk/>
            <pc:sldMk cId="669974973" sldId="20982"/>
            <ac:spMk id="8" creationId="{014204B3-31A8-40F8-9A5C-CCED69C3C6DF}"/>
          </ac:spMkLst>
        </pc:spChg>
        <pc:spChg chg="del mod">
          <ac:chgData name="Divya Rajkumar Bhatia" userId="d84a7b11-0b78-4191-b9c5-1b53f671e4be" providerId="ADAL" clId="{D9E8CE8E-1D6D-4808-87ED-2D372CCDB95C}" dt="2021-11-16T12:42:51.638" v="994" actId="478"/>
          <ac:spMkLst>
            <pc:docMk/>
            <pc:sldMk cId="669974973" sldId="20982"/>
            <ac:spMk id="10" creationId="{430D905A-4EDF-4AC5-BE90-CD6AFEEF5499}"/>
          </ac:spMkLst>
        </pc:spChg>
        <pc:picChg chg="del">
          <ac:chgData name="Divya Rajkumar Bhatia" userId="d84a7b11-0b78-4191-b9c5-1b53f671e4be" providerId="ADAL" clId="{D9E8CE8E-1D6D-4808-87ED-2D372CCDB95C}" dt="2021-11-16T12:42:46.237" v="992" actId="478"/>
          <ac:picMkLst>
            <pc:docMk/>
            <pc:sldMk cId="669974973" sldId="20982"/>
            <ac:picMk id="9" creationId="{723AFABF-9099-4DDB-AD8B-7F457F8F5A71}"/>
          </ac:picMkLst>
        </pc:picChg>
      </pc:sldChg>
      <pc:sldChg chg="addSp delSp modSp add mod">
        <pc:chgData name="Divya Rajkumar Bhatia" userId="d84a7b11-0b78-4191-b9c5-1b53f671e4be" providerId="ADAL" clId="{D9E8CE8E-1D6D-4808-87ED-2D372CCDB95C}" dt="2021-11-16T12:54:48.970" v="2158"/>
        <pc:sldMkLst>
          <pc:docMk/>
          <pc:sldMk cId="1397099516" sldId="20983"/>
        </pc:sldMkLst>
        <pc:spChg chg="mod">
          <ac:chgData name="Divya Rajkumar Bhatia" userId="d84a7b11-0b78-4191-b9c5-1b53f671e4be" providerId="ADAL" clId="{D9E8CE8E-1D6D-4808-87ED-2D372CCDB95C}" dt="2021-11-16T12:54:48.970" v="2158"/>
          <ac:spMkLst>
            <pc:docMk/>
            <pc:sldMk cId="1397099516" sldId="20983"/>
            <ac:spMk id="3" creationId="{967BE67E-54AC-4975-8802-0360863835CF}"/>
          </ac:spMkLst>
        </pc:spChg>
        <pc:spChg chg="add del mod">
          <ac:chgData name="Divya Rajkumar Bhatia" userId="d84a7b11-0b78-4191-b9c5-1b53f671e4be" providerId="ADAL" clId="{D9E8CE8E-1D6D-4808-87ED-2D372CCDB95C}" dt="2021-11-16T12:11:28.502" v="21" actId="478"/>
          <ac:spMkLst>
            <pc:docMk/>
            <pc:sldMk cId="1397099516" sldId="20983"/>
            <ac:spMk id="4" creationId="{84BB333A-D268-4885-B9AA-313D842E24C2}"/>
          </ac:spMkLst>
        </pc:spChg>
        <pc:spChg chg="add mod">
          <ac:chgData name="Divya Rajkumar Bhatia" userId="d84a7b11-0b78-4191-b9c5-1b53f671e4be" providerId="ADAL" clId="{D9E8CE8E-1D6D-4808-87ED-2D372CCDB95C}" dt="2021-11-16T12:25:22.304" v="645" actId="14100"/>
          <ac:spMkLst>
            <pc:docMk/>
            <pc:sldMk cId="1397099516" sldId="20983"/>
            <ac:spMk id="5" creationId="{E57AFE32-F53C-4199-9BEC-07DAA225DC64}"/>
          </ac:spMkLst>
        </pc:spChg>
        <pc:graphicFrameChg chg="mod">
          <ac:chgData name="Divya Rajkumar Bhatia" userId="d84a7b11-0b78-4191-b9c5-1b53f671e4be" providerId="ADAL" clId="{D9E8CE8E-1D6D-4808-87ED-2D372CCDB95C}" dt="2021-11-16T12:41:54.453" v="981" actId="20577"/>
          <ac:graphicFrameMkLst>
            <pc:docMk/>
            <pc:sldMk cId="1397099516" sldId="20983"/>
            <ac:graphicFrameMk id="6" creationId="{BBA015C5-A577-4930-8296-2D1D0CDE5A32}"/>
          </ac:graphicFrameMkLst>
        </pc:graphicFrameChg>
        <pc:picChg chg="del">
          <ac:chgData name="Divya Rajkumar Bhatia" userId="d84a7b11-0b78-4191-b9c5-1b53f671e4be" providerId="ADAL" clId="{D9E8CE8E-1D6D-4808-87ED-2D372CCDB95C}" dt="2021-11-16T12:11:24.521" v="20" actId="478"/>
          <ac:picMkLst>
            <pc:docMk/>
            <pc:sldMk cId="1397099516" sldId="20983"/>
            <ac:picMk id="8" creationId="{52AF8198-023F-45A8-820D-CDC0FF5B932E}"/>
          </ac:picMkLst>
        </pc:picChg>
      </pc:sldChg>
    </pc:docChg>
  </pc:docChgLst>
  <pc:docChgLst>
    <pc:chgData name="Dharamveer Singh" userId="S::dharamveer.singh1@gds.ey.com::68fff2ab-0f4e-4042-8a08-b5b586242feb" providerId="AD" clId="Web-{C2E96CE9-F20B-4C24-B6C0-271974817FC3}"/>
    <pc:docChg chg="modSld">
      <pc:chgData name="Dharamveer Singh" userId="S::dharamveer.singh1@gds.ey.com::68fff2ab-0f4e-4042-8a08-b5b586242feb" providerId="AD" clId="Web-{C2E96CE9-F20B-4C24-B6C0-271974817FC3}" dt="2021-11-18T14:48:19.431" v="84" actId="14100"/>
      <pc:docMkLst>
        <pc:docMk/>
      </pc:docMkLst>
      <pc:sldChg chg="addSp delSp modSp">
        <pc:chgData name="Dharamveer Singh" userId="S::dharamveer.singh1@gds.ey.com::68fff2ab-0f4e-4042-8a08-b5b586242feb" providerId="AD" clId="Web-{C2E96CE9-F20B-4C24-B6C0-271974817FC3}" dt="2021-11-18T14:48:19.431" v="84" actId="14100"/>
        <pc:sldMkLst>
          <pc:docMk/>
          <pc:sldMk cId="1072258767" sldId="20985"/>
        </pc:sldMkLst>
        <pc:spChg chg="mod">
          <ac:chgData name="Dharamveer Singh" userId="S::dharamveer.singh1@gds.ey.com::68fff2ab-0f4e-4042-8a08-b5b586242feb" providerId="AD" clId="Web-{C2E96CE9-F20B-4C24-B6C0-271974817FC3}" dt="2021-11-18T14:40:52.313" v="46" actId="20577"/>
          <ac:spMkLst>
            <pc:docMk/>
            <pc:sldMk cId="1072258767" sldId="20985"/>
            <ac:spMk id="7" creationId="{6855F8AB-90B3-4FBE-8B3E-AB44603F6D29}"/>
          </ac:spMkLst>
        </pc:spChg>
        <pc:spChg chg="mod">
          <ac:chgData name="Dharamveer Singh" userId="S::dharamveer.singh1@gds.ey.com::68fff2ab-0f4e-4042-8a08-b5b586242feb" providerId="AD" clId="Web-{C2E96CE9-F20B-4C24-B6C0-271974817FC3}" dt="2021-11-18T14:46:34.398" v="78" actId="20577"/>
          <ac:spMkLst>
            <pc:docMk/>
            <pc:sldMk cId="1072258767" sldId="20985"/>
            <ac:spMk id="8" creationId="{82822C11-5927-45CB-8939-B8D599FEDFE4}"/>
          </ac:spMkLst>
        </pc:spChg>
        <pc:spChg chg="mod">
          <ac:chgData name="Dharamveer Singh" userId="S::dharamveer.singh1@gds.ey.com::68fff2ab-0f4e-4042-8a08-b5b586242feb" providerId="AD" clId="Web-{C2E96CE9-F20B-4C24-B6C0-271974817FC3}" dt="2021-11-18T14:46:17.179" v="74" actId="1076"/>
          <ac:spMkLst>
            <pc:docMk/>
            <pc:sldMk cId="1072258767" sldId="20985"/>
            <ac:spMk id="23" creationId="{67AB3247-B8EF-4A78-8CCB-DCF93D6DCD5B}"/>
          </ac:spMkLst>
        </pc:spChg>
        <pc:spChg chg="del mod">
          <ac:chgData name="Dharamveer Singh" userId="S::dharamveer.singh1@gds.ey.com::68fff2ab-0f4e-4042-8a08-b5b586242feb" providerId="AD" clId="Web-{C2E96CE9-F20B-4C24-B6C0-271974817FC3}" dt="2021-11-18T14:38:27.295" v="1"/>
          <ac:spMkLst>
            <pc:docMk/>
            <pc:sldMk cId="1072258767" sldId="20985"/>
            <ac:spMk id="26" creationId="{50DAABF8-5670-4C09-93DE-A18EE11E2FDC}"/>
          </ac:spMkLst>
        </pc:spChg>
        <pc:spChg chg="add mod">
          <ac:chgData name="Dharamveer Singh" userId="S::dharamveer.singh1@gds.ey.com::68fff2ab-0f4e-4042-8a08-b5b586242feb" providerId="AD" clId="Web-{C2E96CE9-F20B-4C24-B6C0-271974817FC3}" dt="2021-11-18T14:47:03.008" v="80" actId="1076"/>
          <ac:spMkLst>
            <pc:docMk/>
            <pc:sldMk cId="1072258767" sldId="20985"/>
            <ac:spMk id="29" creationId="{812CF2C3-369B-402C-80CB-F4150DD1B114}"/>
          </ac:spMkLst>
        </pc:spChg>
        <pc:spChg chg="mod">
          <ac:chgData name="Dharamveer Singh" userId="S::dharamveer.singh1@gds.ey.com::68fff2ab-0f4e-4042-8a08-b5b586242feb" providerId="AD" clId="Web-{C2E96CE9-F20B-4C24-B6C0-271974817FC3}" dt="2021-11-18T14:46:00.303" v="70" actId="1076"/>
          <ac:spMkLst>
            <pc:docMk/>
            <pc:sldMk cId="1072258767" sldId="20985"/>
            <ac:spMk id="34" creationId="{AE641068-39D6-4179-AAE1-A7B7BA590EBA}"/>
          </ac:spMkLst>
        </pc:spChg>
        <pc:picChg chg="add mod">
          <ac:chgData name="Dharamveer Singh" userId="S::dharamveer.singh1@gds.ey.com::68fff2ab-0f4e-4042-8a08-b5b586242feb" providerId="AD" clId="Web-{C2E96CE9-F20B-4C24-B6C0-271974817FC3}" dt="2021-11-18T14:45:42.194" v="68" actId="1076"/>
          <ac:picMkLst>
            <pc:docMk/>
            <pc:sldMk cId="1072258767" sldId="20985"/>
            <ac:picMk id="2" creationId="{7A2D54B4-B583-44D4-827C-0906F78D4543}"/>
          </ac:picMkLst>
        </pc:picChg>
        <pc:picChg chg="add mod">
          <ac:chgData name="Dharamveer Singh" userId="S::dharamveer.singh1@gds.ey.com::68fff2ab-0f4e-4042-8a08-b5b586242feb" providerId="AD" clId="Web-{C2E96CE9-F20B-4C24-B6C0-271974817FC3}" dt="2021-11-18T14:48:19.431" v="84" actId="14100"/>
          <ac:picMkLst>
            <pc:docMk/>
            <pc:sldMk cId="1072258767" sldId="20985"/>
            <ac:picMk id="5" creationId="{2166DAC1-04E4-4880-890F-A2013F73D977}"/>
          </ac:picMkLst>
        </pc:picChg>
        <pc:picChg chg="mod">
          <ac:chgData name="Dharamveer Singh" userId="S::dharamveer.singh1@gds.ey.com::68fff2ab-0f4e-4042-8a08-b5b586242feb" providerId="AD" clId="Web-{C2E96CE9-F20B-4C24-B6C0-271974817FC3}" dt="2021-11-18T14:40:53.579" v="47" actId="1076"/>
          <ac:picMkLst>
            <pc:docMk/>
            <pc:sldMk cId="1072258767" sldId="20985"/>
            <ac:picMk id="25" creationId="{A09E5B3F-F3C5-4343-A3CA-77295F435D28}"/>
          </ac:picMkLst>
        </pc:picChg>
        <pc:picChg chg="mod">
          <ac:chgData name="Dharamveer Singh" userId="S::dharamveer.singh1@gds.ey.com::68fff2ab-0f4e-4042-8a08-b5b586242feb" providerId="AD" clId="Web-{C2E96CE9-F20B-4C24-B6C0-271974817FC3}" dt="2021-11-18T14:45:47.928" v="69" actId="1076"/>
          <ac:picMkLst>
            <pc:docMk/>
            <pc:sldMk cId="1072258767" sldId="20985"/>
            <ac:picMk id="2060" creationId="{5824E5E4-D254-4522-AE21-D12F2C75A506}"/>
          </ac:picMkLst>
        </pc:picChg>
        <pc:cxnChg chg="mod">
          <ac:chgData name="Dharamveer Singh" userId="S::dharamveer.singh1@gds.ey.com::68fff2ab-0f4e-4042-8a08-b5b586242feb" providerId="AD" clId="Web-{C2E96CE9-F20B-4C24-B6C0-271974817FC3}" dt="2021-11-18T14:39:14.546" v="10" actId="14100"/>
          <ac:cxnSpMkLst>
            <pc:docMk/>
            <pc:sldMk cId="1072258767" sldId="20985"/>
            <ac:cxnSpMk id="12" creationId="{5C1FB346-2839-472E-BCBD-E7720289D8AA}"/>
          </ac:cxnSpMkLst>
        </pc:cxnChg>
        <pc:cxnChg chg="mod">
          <ac:chgData name="Dharamveer Singh" userId="S::dharamveer.singh1@gds.ey.com::68fff2ab-0f4e-4042-8a08-b5b586242feb" providerId="AD" clId="Web-{C2E96CE9-F20B-4C24-B6C0-271974817FC3}" dt="2021-11-18T14:39:22.639" v="12" actId="14100"/>
          <ac:cxnSpMkLst>
            <pc:docMk/>
            <pc:sldMk cId="1072258767" sldId="20985"/>
            <ac:cxnSpMk id="16" creationId="{A6CC27D3-A48C-4E44-B7E4-99CCEAAF4CD2}"/>
          </ac:cxnSpMkLst>
        </pc:cxnChg>
        <pc:cxnChg chg="mod">
          <ac:chgData name="Dharamveer Singh" userId="S::dharamveer.singh1@gds.ey.com::68fff2ab-0f4e-4042-8a08-b5b586242feb" providerId="AD" clId="Web-{C2E96CE9-F20B-4C24-B6C0-271974817FC3}" dt="2021-11-18T14:41:09.610" v="49" actId="14100"/>
          <ac:cxnSpMkLst>
            <pc:docMk/>
            <pc:sldMk cId="1072258767" sldId="20985"/>
            <ac:cxnSpMk id="17" creationId="{F70C6B27-E8E0-40F7-86C7-19D4438F0DA7}"/>
          </ac:cxnSpMkLst>
        </pc:cxnChg>
        <pc:cxnChg chg="mod">
          <ac:chgData name="Dharamveer Singh" userId="S::dharamveer.singh1@gds.ey.com::68fff2ab-0f4e-4042-8a08-b5b586242feb" providerId="AD" clId="Web-{C2E96CE9-F20B-4C24-B6C0-271974817FC3}" dt="2021-11-18T14:41:30.126" v="51" actId="14100"/>
          <ac:cxnSpMkLst>
            <pc:docMk/>
            <pc:sldMk cId="1072258767" sldId="20985"/>
            <ac:cxnSpMk id="19" creationId="{00D693F9-7289-4D0D-B164-B8AA5DBC5D09}"/>
          </ac:cxnSpMkLst>
        </pc:cxnChg>
        <pc:cxnChg chg="add mod">
          <ac:chgData name="Dharamveer Singh" userId="S::dharamveer.singh1@gds.ey.com::68fff2ab-0f4e-4042-8a08-b5b586242feb" providerId="AD" clId="Web-{C2E96CE9-F20B-4C24-B6C0-271974817FC3}" dt="2021-11-18T14:46:13.085" v="73" actId="14100"/>
          <ac:cxnSpMkLst>
            <pc:docMk/>
            <pc:sldMk cId="1072258767" sldId="20985"/>
            <ac:cxnSpMk id="21" creationId="{3C3DE328-25A6-42AF-B309-11D94A4D2EB9}"/>
          </ac:cxnSpMkLst>
        </pc:cxnChg>
        <pc:cxnChg chg="add mod">
          <ac:chgData name="Dharamveer Singh" userId="S::dharamveer.singh1@gds.ey.com::68fff2ab-0f4e-4042-8a08-b5b586242feb" providerId="AD" clId="Web-{C2E96CE9-F20B-4C24-B6C0-271974817FC3}" dt="2021-11-18T14:46:21.538" v="75" actId="1076"/>
          <ac:cxnSpMkLst>
            <pc:docMk/>
            <pc:sldMk cId="1072258767" sldId="20985"/>
            <ac:cxnSpMk id="24" creationId="{A32FFC80-187D-4F4D-A4F0-7408570B9606}"/>
          </ac:cxnSpMkLst>
        </pc:cxnChg>
        <pc:cxnChg chg="add del mod">
          <ac:chgData name="Dharamveer Singh" userId="S::dharamveer.singh1@gds.ey.com::68fff2ab-0f4e-4042-8a08-b5b586242feb" providerId="AD" clId="Web-{C2E96CE9-F20B-4C24-B6C0-271974817FC3}" dt="2021-11-18T14:44:58.505" v="65"/>
          <ac:cxnSpMkLst>
            <pc:docMk/>
            <pc:sldMk cId="1072258767" sldId="20985"/>
            <ac:cxnSpMk id="27" creationId="{0336FB9B-89C4-4F80-A2D5-DD857274D488}"/>
          </ac:cxnSpMkLst>
        </pc:cxnChg>
        <pc:cxnChg chg="add del mod">
          <ac:chgData name="Dharamveer Singh" userId="S::dharamveer.singh1@gds.ey.com::68fff2ab-0f4e-4042-8a08-b5b586242feb" providerId="AD" clId="Web-{C2E96CE9-F20B-4C24-B6C0-271974817FC3}" dt="2021-11-18T14:44:56.568" v="64"/>
          <ac:cxnSpMkLst>
            <pc:docMk/>
            <pc:sldMk cId="1072258767" sldId="20985"/>
            <ac:cxnSpMk id="28" creationId="{85D397D1-9FC5-43B4-82A1-F854152518C5}"/>
          </ac:cxnSpMkLst>
        </pc:cxnChg>
      </pc:sldChg>
    </pc:docChg>
  </pc:docChgLst>
  <pc:docChgLst>
    <pc:chgData name="Dharamveer Singh" userId="68fff2ab-0f4e-4042-8a08-b5b586242feb" providerId="ADAL" clId="{D8ECAC80-CEEB-44B6-AA50-4AF2021DC507}"/>
    <pc:docChg chg="undo custSel modSld">
      <pc:chgData name="Dharamveer Singh" userId="68fff2ab-0f4e-4042-8a08-b5b586242feb" providerId="ADAL" clId="{D8ECAC80-CEEB-44B6-AA50-4AF2021DC507}" dt="2021-11-18T15:09:37.153" v="123" actId="1076"/>
      <pc:docMkLst>
        <pc:docMk/>
      </pc:docMkLst>
      <pc:sldChg chg="addSp delSp modSp mod">
        <pc:chgData name="Dharamveer Singh" userId="68fff2ab-0f4e-4042-8a08-b5b586242feb" providerId="ADAL" clId="{D8ECAC80-CEEB-44B6-AA50-4AF2021DC507}" dt="2021-11-18T15:09:37.153" v="123" actId="1076"/>
        <pc:sldMkLst>
          <pc:docMk/>
          <pc:sldMk cId="1072258767" sldId="20985"/>
        </pc:sldMkLst>
        <pc:spChg chg="mod">
          <ac:chgData name="Dharamveer Singh" userId="68fff2ab-0f4e-4042-8a08-b5b586242feb" providerId="ADAL" clId="{D8ECAC80-CEEB-44B6-AA50-4AF2021DC507}" dt="2021-11-18T14:55:59.339" v="40" actId="27803"/>
          <ac:spMkLst>
            <pc:docMk/>
            <pc:sldMk cId="1072258767" sldId="20985"/>
            <ac:spMk id="3" creationId="{79601699-A63D-4A23-B05A-7C354F6E95EB}"/>
          </ac:spMkLst>
        </pc:spChg>
        <pc:spChg chg="mod">
          <ac:chgData name="Dharamveer Singh" userId="68fff2ab-0f4e-4042-8a08-b5b586242feb" providerId="ADAL" clId="{D8ECAC80-CEEB-44B6-AA50-4AF2021DC507}" dt="2021-11-18T14:55:59.339" v="40" actId="27803"/>
          <ac:spMkLst>
            <pc:docMk/>
            <pc:sldMk cId="1072258767" sldId="20985"/>
            <ac:spMk id="4" creationId="{3BA8AFA5-B179-4757-AFE4-04E94B308E8B}"/>
          </ac:spMkLst>
        </pc:spChg>
        <pc:spChg chg="mod">
          <ac:chgData name="Dharamveer Singh" userId="68fff2ab-0f4e-4042-8a08-b5b586242feb" providerId="ADAL" clId="{D8ECAC80-CEEB-44B6-AA50-4AF2021DC507}" dt="2021-11-18T14:55:59.339" v="40" actId="27803"/>
          <ac:spMkLst>
            <pc:docMk/>
            <pc:sldMk cId="1072258767" sldId="20985"/>
            <ac:spMk id="7" creationId="{6855F8AB-90B3-4FBE-8B3E-AB44603F6D29}"/>
          </ac:spMkLst>
        </pc:spChg>
        <pc:spChg chg="mod">
          <ac:chgData name="Dharamveer Singh" userId="68fff2ab-0f4e-4042-8a08-b5b586242feb" providerId="ADAL" clId="{D8ECAC80-CEEB-44B6-AA50-4AF2021DC507}" dt="2021-11-18T15:03:37.201" v="45" actId="1076"/>
          <ac:spMkLst>
            <pc:docMk/>
            <pc:sldMk cId="1072258767" sldId="20985"/>
            <ac:spMk id="8" creationId="{82822C11-5927-45CB-8939-B8D599FEDFE4}"/>
          </ac:spMkLst>
        </pc:spChg>
        <pc:spChg chg="mod">
          <ac:chgData name="Dharamveer Singh" userId="68fff2ab-0f4e-4042-8a08-b5b586242feb" providerId="ADAL" clId="{D8ECAC80-CEEB-44B6-AA50-4AF2021DC507}" dt="2021-11-18T14:55:59.339" v="40" actId="27803"/>
          <ac:spMkLst>
            <pc:docMk/>
            <pc:sldMk cId="1072258767" sldId="20985"/>
            <ac:spMk id="10" creationId="{BCB0F9E8-59B3-439E-AB29-BE675FA3D7D4}"/>
          </ac:spMkLst>
        </pc:spChg>
        <pc:spChg chg="add del mod">
          <ac:chgData name="Dharamveer Singh" userId="68fff2ab-0f4e-4042-8a08-b5b586242feb" providerId="ADAL" clId="{D8ECAC80-CEEB-44B6-AA50-4AF2021DC507}" dt="2021-11-18T14:52:04.479" v="21"/>
          <ac:spMkLst>
            <pc:docMk/>
            <pc:sldMk cId="1072258767" sldId="20985"/>
            <ac:spMk id="11" creationId="{36E91395-D952-4F19-BA9F-EF3C9AE4DA98}"/>
          </ac:spMkLst>
        </pc:spChg>
        <pc:spChg chg="add mod">
          <ac:chgData name="Dharamveer Singh" userId="68fff2ab-0f4e-4042-8a08-b5b586242feb" providerId="ADAL" clId="{D8ECAC80-CEEB-44B6-AA50-4AF2021DC507}" dt="2021-11-18T14:55:59.339" v="40" actId="27803"/>
          <ac:spMkLst>
            <pc:docMk/>
            <pc:sldMk cId="1072258767" sldId="20985"/>
            <ac:spMk id="13" creationId="{4F1BE2C2-B35F-43A4-A876-A4D91995A497}"/>
          </ac:spMkLst>
        </pc:spChg>
        <pc:spChg chg="mod">
          <ac:chgData name="Dharamveer Singh" userId="68fff2ab-0f4e-4042-8a08-b5b586242feb" providerId="ADAL" clId="{D8ECAC80-CEEB-44B6-AA50-4AF2021DC507}" dt="2021-11-18T14:55:59.339" v="40" actId="27803"/>
          <ac:spMkLst>
            <pc:docMk/>
            <pc:sldMk cId="1072258767" sldId="20985"/>
            <ac:spMk id="18" creationId="{1347392D-79F4-4891-BAF7-9922110E4802}"/>
          </ac:spMkLst>
        </pc:spChg>
        <pc:spChg chg="mod">
          <ac:chgData name="Dharamveer Singh" userId="68fff2ab-0f4e-4042-8a08-b5b586242feb" providerId="ADAL" clId="{D8ECAC80-CEEB-44B6-AA50-4AF2021DC507}" dt="2021-11-18T14:55:59.339" v="40" actId="27803"/>
          <ac:spMkLst>
            <pc:docMk/>
            <pc:sldMk cId="1072258767" sldId="20985"/>
            <ac:spMk id="20" creationId="{9A9B3C43-0E33-4B8A-9242-2768D2659560}"/>
          </ac:spMkLst>
        </pc:spChg>
        <pc:spChg chg="mod">
          <ac:chgData name="Dharamveer Singh" userId="68fff2ab-0f4e-4042-8a08-b5b586242feb" providerId="ADAL" clId="{D8ECAC80-CEEB-44B6-AA50-4AF2021DC507}" dt="2021-11-18T14:55:59.339" v="40" actId="27803"/>
          <ac:spMkLst>
            <pc:docMk/>
            <pc:sldMk cId="1072258767" sldId="20985"/>
            <ac:spMk id="22" creationId="{E607B256-C70A-46BC-874E-504C8320BE53}"/>
          </ac:spMkLst>
        </pc:spChg>
        <pc:spChg chg="mod">
          <ac:chgData name="Dharamveer Singh" userId="68fff2ab-0f4e-4042-8a08-b5b586242feb" providerId="ADAL" clId="{D8ECAC80-CEEB-44B6-AA50-4AF2021DC507}" dt="2021-11-18T14:55:59.339" v="40" actId="27803"/>
          <ac:spMkLst>
            <pc:docMk/>
            <pc:sldMk cId="1072258767" sldId="20985"/>
            <ac:spMk id="23" creationId="{67AB3247-B8EF-4A78-8CCB-DCF93D6DCD5B}"/>
          </ac:spMkLst>
        </pc:spChg>
        <pc:spChg chg="mod">
          <ac:chgData name="Dharamveer Singh" userId="68fff2ab-0f4e-4042-8a08-b5b586242feb" providerId="ADAL" clId="{D8ECAC80-CEEB-44B6-AA50-4AF2021DC507}" dt="2021-11-18T14:55:59.339" v="40" actId="27803"/>
          <ac:spMkLst>
            <pc:docMk/>
            <pc:sldMk cId="1072258767" sldId="20985"/>
            <ac:spMk id="27" creationId="{7CA01486-981D-4520-BAEE-6B7FD9186AE5}"/>
          </ac:spMkLst>
        </pc:spChg>
        <pc:spChg chg="mod">
          <ac:chgData name="Dharamveer Singh" userId="68fff2ab-0f4e-4042-8a08-b5b586242feb" providerId="ADAL" clId="{D8ECAC80-CEEB-44B6-AA50-4AF2021DC507}" dt="2021-11-18T14:55:59.339" v="40" actId="27803"/>
          <ac:spMkLst>
            <pc:docMk/>
            <pc:sldMk cId="1072258767" sldId="20985"/>
            <ac:spMk id="28" creationId="{4273FD1D-5066-4809-833E-2A5635222732}"/>
          </ac:spMkLst>
        </pc:spChg>
        <pc:spChg chg="mod">
          <ac:chgData name="Dharamveer Singh" userId="68fff2ab-0f4e-4042-8a08-b5b586242feb" providerId="ADAL" clId="{D8ECAC80-CEEB-44B6-AA50-4AF2021DC507}" dt="2021-11-18T15:03:14.953" v="41" actId="1076"/>
          <ac:spMkLst>
            <pc:docMk/>
            <pc:sldMk cId="1072258767" sldId="20985"/>
            <ac:spMk id="29" creationId="{812CF2C3-369B-402C-80CB-F4150DD1B114}"/>
          </ac:spMkLst>
        </pc:spChg>
        <pc:spChg chg="mod">
          <ac:chgData name="Dharamveer Singh" userId="68fff2ab-0f4e-4042-8a08-b5b586242feb" providerId="ADAL" clId="{D8ECAC80-CEEB-44B6-AA50-4AF2021DC507}" dt="2021-11-18T14:55:59.339" v="40" actId="27803"/>
          <ac:spMkLst>
            <pc:docMk/>
            <pc:sldMk cId="1072258767" sldId="20985"/>
            <ac:spMk id="30" creationId="{DCCC41EA-C325-489A-B677-EFBF2941C371}"/>
          </ac:spMkLst>
        </pc:spChg>
        <pc:spChg chg="mod">
          <ac:chgData name="Dharamveer Singh" userId="68fff2ab-0f4e-4042-8a08-b5b586242feb" providerId="ADAL" clId="{D8ECAC80-CEEB-44B6-AA50-4AF2021DC507}" dt="2021-11-18T14:55:59.339" v="40" actId="27803"/>
          <ac:spMkLst>
            <pc:docMk/>
            <pc:sldMk cId="1072258767" sldId="20985"/>
            <ac:spMk id="31" creationId="{3E47345E-56CF-4406-88FA-755864373E15}"/>
          </ac:spMkLst>
        </pc:spChg>
        <pc:spChg chg="mod">
          <ac:chgData name="Dharamveer Singh" userId="68fff2ab-0f4e-4042-8a08-b5b586242feb" providerId="ADAL" clId="{D8ECAC80-CEEB-44B6-AA50-4AF2021DC507}" dt="2021-11-18T14:55:59.339" v="40" actId="27803"/>
          <ac:spMkLst>
            <pc:docMk/>
            <pc:sldMk cId="1072258767" sldId="20985"/>
            <ac:spMk id="32" creationId="{87C1A73E-BCF7-40B3-BC9E-353915C50322}"/>
          </ac:spMkLst>
        </pc:spChg>
        <pc:spChg chg="mod">
          <ac:chgData name="Dharamveer Singh" userId="68fff2ab-0f4e-4042-8a08-b5b586242feb" providerId="ADAL" clId="{D8ECAC80-CEEB-44B6-AA50-4AF2021DC507}" dt="2021-11-18T14:55:59.339" v="40" actId="27803"/>
          <ac:spMkLst>
            <pc:docMk/>
            <pc:sldMk cId="1072258767" sldId="20985"/>
            <ac:spMk id="34" creationId="{AE641068-39D6-4179-AAE1-A7B7BA590EBA}"/>
          </ac:spMkLst>
        </pc:spChg>
        <pc:spChg chg="add del mod">
          <ac:chgData name="Dharamveer Singh" userId="68fff2ab-0f4e-4042-8a08-b5b586242feb" providerId="ADAL" clId="{D8ECAC80-CEEB-44B6-AA50-4AF2021DC507}" dt="2021-11-18T15:05:53.379" v="116" actId="478"/>
          <ac:spMkLst>
            <pc:docMk/>
            <pc:sldMk cId="1072258767" sldId="20985"/>
            <ac:spMk id="67" creationId="{366BF06E-B4FE-4B8C-81C1-C96C4D5AF06C}"/>
          </ac:spMkLst>
        </pc:spChg>
        <pc:spChg chg="mod">
          <ac:chgData name="Dharamveer Singh" userId="68fff2ab-0f4e-4042-8a08-b5b586242feb" providerId="ADAL" clId="{D8ECAC80-CEEB-44B6-AA50-4AF2021DC507}" dt="2021-11-18T14:55:59.339" v="40" actId="27803"/>
          <ac:spMkLst>
            <pc:docMk/>
            <pc:sldMk cId="1072258767" sldId="20985"/>
            <ac:spMk id="2048" creationId="{3FF286FE-B2F4-4B1F-89A2-53D8B6F86BFE}"/>
          </ac:spMkLst>
        </pc:spChg>
        <pc:spChg chg="mod">
          <ac:chgData name="Dharamveer Singh" userId="68fff2ab-0f4e-4042-8a08-b5b586242feb" providerId="ADAL" clId="{D8ECAC80-CEEB-44B6-AA50-4AF2021DC507}" dt="2021-11-18T14:55:59.339" v="40" actId="27803"/>
          <ac:spMkLst>
            <pc:docMk/>
            <pc:sldMk cId="1072258767" sldId="20985"/>
            <ac:spMk id="2049" creationId="{874C1606-86D7-4F5B-A25E-88F4DABB856E}"/>
          </ac:spMkLst>
        </pc:spChg>
        <pc:spChg chg="mod">
          <ac:chgData name="Dharamveer Singh" userId="68fff2ab-0f4e-4042-8a08-b5b586242feb" providerId="ADAL" clId="{D8ECAC80-CEEB-44B6-AA50-4AF2021DC507}" dt="2021-11-18T14:55:59.339" v="40" actId="27803"/>
          <ac:spMkLst>
            <pc:docMk/>
            <pc:sldMk cId="1072258767" sldId="20985"/>
            <ac:spMk id="2050" creationId="{C735D385-F9E1-4442-AF7A-761496CBAD00}"/>
          </ac:spMkLst>
        </pc:spChg>
        <pc:spChg chg="mod">
          <ac:chgData name="Dharamveer Singh" userId="68fff2ab-0f4e-4042-8a08-b5b586242feb" providerId="ADAL" clId="{D8ECAC80-CEEB-44B6-AA50-4AF2021DC507}" dt="2021-11-18T14:55:59.339" v="40" actId="27803"/>
          <ac:spMkLst>
            <pc:docMk/>
            <pc:sldMk cId="1072258767" sldId="20985"/>
            <ac:spMk id="2051" creationId="{BFB4EC7D-E48D-405A-B0FE-5EA23C7FA715}"/>
          </ac:spMkLst>
        </pc:spChg>
        <pc:spChg chg="mod">
          <ac:chgData name="Dharamveer Singh" userId="68fff2ab-0f4e-4042-8a08-b5b586242feb" providerId="ADAL" clId="{D8ECAC80-CEEB-44B6-AA50-4AF2021DC507}" dt="2021-11-18T14:55:59.339" v="40" actId="27803"/>
          <ac:spMkLst>
            <pc:docMk/>
            <pc:sldMk cId="1072258767" sldId="20985"/>
            <ac:spMk id="2052" creationId="{DE64248E-7FF3-48D8-BFA6-DAD55B8BEFA9}"/>
          </ac:spMkLst>
        </pc:spChg>
        <pc:spChg chg="mod">
          <ac:chgData name="Dharamveer Singh" userId="68fff2ab-0f4e-4042-8a08-b5b586242feb" providerId="ADAL" clId="{D8ECAC80-CEEB-44B6-AA50-4AF2021DC507}" dt="2021-11-18T14:55:59.339" v="40" actId="27803"/>
          <ac:spMkLst>
            <pc:docMk/>
            <pc:sldMk cId="1072258767" sldId="20985"/>
            <ac:spMk id="2053" creationId="{095FA234-7AB7-4B17-A937-1B9EA00F5EF2}"/>
          </ac:spMkLst>
        </pc:spChg>
        <pc:spChg chg="mod">
          <ac:chgData name="Dharamveer Singh" userId="68fff2ab-0f4e-4042-8a08-b5b586242feb" providerId="ADAL" clId="{D8ECAC80-CEEB-44B6-AA50-4AF2021DC507}" dt="2021-11-18T14:55:59.339" v="40" actId="27803"/>
          <ac:spMkLst>
            <pc:docMk/>
            <pc:sldMk cId="1072258767" sldId="20985"/>
            <ac:spMk id="2055" creationId="{BD753838-5217-460A-AF55-DC7D0A85EAAD}"/>
          </ac:spMkLst>
        </pc:spChg>
        <pc:spChg chg="mod">
          <ac:chgData name="Dharamveer Singh" userId="68fff2ab-0f4e-4042-8a08-b5b586242feb" providerId="ADAL" clId="{D8ECAC80-CEEB-44B6-AA50-4AF2021DC507}" dt="2021-11-18T14:55:59.339" v="40" actId="27803"/>
          <ac:spMkLst>
            <pc:docMk/>
            <pc:sldMk cId="1072258767" sldId="20985"/>
            <ac:spMk id="2057" creationId="{0C90FEF1-936D-441C-9189-6A4D78BB3666}"/>
          </ac:spMkLst>
        </pc:spChg>
        <pc:spChg chg="mod">
          <ac:chgData name="Dharamveer Singh" userId="68fff2ab-0f4e-4042-8a08-b5b586242feb" providerId="ADAL" clId="{D8ECAC80-CEEB-44B6-AA50-4AF2021DC507}" dt="2021-11-18T14:55:59.339" v="40" actId="27803"/>
          <ac:spMkLst>
            <pc:docMk/>
            <pc:sldMk cId="1072258767" sldId="20985"/>
            <ac:spMk id="2059" creationId="{01B8FD81-14A2-4D4C-B5B3-8FAD9F6BD75D}"/>
          </ac:spMkLst>
        </pc:spChg>
        <pc:spChg chg="mod">
          <ac:chgData name="Dharamveer Singh" userId="68fff2ab-0f4e-4042-8a08-b5b586242feb" providerId="ADAL" clId="{D8ECAC80-CEEB-44B6-AA50-4AF2021DC507}" dt="2021-11-18T14:55:59.339" v="40" actId="27803"/>
          <ac:spMkLst>
            <pc:docMk/>
            <pc:sldMk cId="1072258767" sldId="20985"/>
            <ac:spMk id="2061" creationId="{E896F1FF-BBAE-4935-9125-91DA020F8DF5}"/>
          </ac:spMkLst>
        </pc:spChg>
        <pc:spChg chg="mod">
          <ac:chgData name="Dharamveer Singh" userId="68fff2ab-0f4e-4042-8a08-b5b586242feb" providerId="ADAL" clId="{D8ECAC80-CEEB-44B6-AA50-4AF2021DC507}" dt="2021-11-18T14:55:59.339" v="40" actId="27803"/>
          <ac:spMkLst>
            <pc:docMk/>
            <pc:sldMk cId="1072258767" sldId="20985"/>
            <ac:spMk id="2062" creationId="{76C1C287-A004-4F9D-A487-4D084B508521}"/>
          </ac:spMkLst>
        </pc:spChg>
        <pc:spChg chg="mod">
          <ac:chgData name="Dharamveer Singh" userId="68fff2ab-0f4e-4042-8a08-b5b586242feb" providerId="ADAL" clId="{D8ECAC80-CEEB-44B6-AA50-4AF2021DC507}" dt="2021-11-18T14:55:59.339" v="40" actId="27803"/>
          <ac:spMkLst>
            <pc:docMk/>
            <pc:sldMk cId="1072258767" sldId="20985"/>
            <ac:spMk id="2063" creationId="{4E0524C1-7B74-4828-BB53-51BFC1C5BFB2}"/>
          </ac:spMkLst>
        </pc:spChg>
        <pc:spChg chg="mod">
          <ac:chgData name="Dharamveer Singh" userId="68fff2ab-0f4e-4042-8a08-b5b586242feb" providerId="ADAL" clId="{D8ECAC80-CEEB-44B6-AA50-4AF2021DC507}" dt="2021-11-18T14:55:59.339" v="40" actId="27803"/>
          <ac:spMkLst>
            <pc:docMk/>
            <pc:sldMk cId="1072258767" sldId="20985"/>
            <ac:spMk id="2064" creationId="{7EE9B45B-D560-481B-ABE6-A079C21B559C}"/>
          </ac:spMkLst>
        </pc:spChg>
        <pc:spChg chg="mod">
          <ac:chgData name="Dharamveer Singh" userId="68fff2ab-0f4e-4042-8a08-b5b586242feb" providerId="ADAL" clId="{D8ECAC80-CEEB-44B6-AA50-4AF2021DC507}" dt="2021-11-18T14:55:59.339" v="40" actId="27803"/>
          <ac:spMkLst>
            <pc:docMk/>
            <pc:sldMk cId="1072258767" sldId="20985"/>
            <ac:spMk id="2065" creationId="{00CCB4BA-B688-4447-B747-BDE1F9AADA52}"/>
          </ac:spMkLst>
        </pc:spChg>
        <pc:spChg chg="mod">
          <ac:chgData name="Dharamveer Singh" userId="68fff2ab-0f4e-4042-8a08-b5b586242feb" providerId="ADAL" clId="{D8ECAC80-CEEB-44B6-AA50-4AF2021DC507}" dt="2021-11-18T14:55:59.339" v="40" actId="27803"/>
          <ac:spMkLst>
            <pc:docMk/>
            <pc:sldMk cId="1072258767" sldId="20985"/>
            <ac:spMk id="2066" creationId="{564F4E0C-50DB-493D-A44A-76447CE2B419}"/>
          </ac:spMkLst>
        </pc:spChg>
        <pc:spChg chg="mod">
          <ac:chgData name="Dharamveer Singh" userId="68fff2ab-0f4e-4042-8a08-b5b586242feb" providerId="ADAL" clId="{D8ECAC80-CEEB-44B6-AA50-4AF2021DC507}" dt="2021-11-18T14:55:59.339" v="40" actId="27803"/>
          <ac:spMkLst>
            <pc:docMk/>
            <pc:sldMk cId="1072258767" sldId="20985"/>
            <ac:spMk id="2067" creationId="{B6C106C5-3AFB-4788-8143-EC94D66CB11A}"/>
          </ac:spMkLst>
        </pc:spChg>
        <pc:spChg chg="mod">
          <ac:chgData name="Dharamveer Singh" userId="68fff2ab-0f4e-4042-8a08-b5b586242feb" providerId="ADAL" clId="{D8ECAC80-CEEB-44B6-AA50-4AF2021DC507}" dt="2021-11-18T14:55:59.339" v="40" actId="27803"/>
          <ac:spMkLst>
            <pc:docMk/>
            <pc:sldMk cId="1072258767" sldId="20985"/>
            <ac:spMk id="2068" creationId="{344171CD-5173-4A0E-A3A6-0B60AA9F71FF}"/>
          </ac:spMkLst>
        </pc:spChg>
        <pc:spChg chg="mod">
          <ac:chgData name="Dharamveer Singh" userId="68fff2ab-0f4e-4042-8a08-b5b586242feb" providerId="ADAL" clId="{D8ECAC80-CEEB-44B6-AA50-4AF2021DC507}" dt="2021-11-18T14:55:59.339" v="40" actId="27803"/>
          <ac:spMkLst>
            <pc:docMk/>
            <pc:sldMk cId="1072258767" sldId="20985"/>
            <ac:spMk id="2069" creationId="{0F95AB3E-8EC1-4B86-8F13-6587DA7164FC}"/>
          </ac:spMkLst>
        </pc:spChg>
        <pc:spChg chg="mod">
          <ac:chgData name="Dharamveer Singh" userId="68fff2ab-0f4e-4042-8a08-b5b586242feb" providerId="ADAL" clId="{D8ECAC80-CEEB-44B6-AA50-4AF2021DC507}" dt="2021-11-18T14:55:59.339" v="40" actId="27803"/>
          <ac:spMkLst>
            <pc:docMk/>
            <pc:sldMk cId="1072258767" sldId="20985"/>
            <ac:spMk id="2070" creationId="{FF07DA43-D3D3-4488-AE70-2A32E2A93917}"/>
          </ac:spMkLst>
        </pc:spChg>
        <pc:spChg chg="mod">
          <ac:chgData name="Dharamveer Singh" userId="68fff2ab-0f4e-4042-8a08-b5b586242feb" providerId="ADAL" clId="{D8ECAC80-CEEB-44B6-AA50-4AF2021DC507}" dt="2021-11-18T14:55:59.339" v="40" actId="27803"/>
          <ac:spMkLst>
            <pc:docMk/>
            <pc:sldMk cId="1072258767" sldId="20985"/>
            <ac:spMk id="2071" creationId="{49988DBF-6282-4BB5-92FF-FB506F825809}"/>
          </ac:spMkLst>
        </pc:spChg>
        <pc:spChg chg="mod">
          <ac:chgData name="Dharamveer Singh" userId="68fff2ab-0f4e-4042-8a08-b5b586242feb" providerId="ADAL" clId="{D8ECAC80-CEEB-44B6-AA50-4AF2021DC507}" dt="2021-11-18T14:55:59.339" v="40" actId="27803"/>
          <ac:spMkLst>
            <pc:docMk/>
            <pc:sldMk cId="1072258767" sldId="20985"/>
            <ac:spMk id="2072" creationId="{D1360853-4D99-4D59-897A-8F9CB7A1EB4F}"/>
          </ac:spMkLst>
        </pc:spChg>
        <pc:spChg chg="mod">
          <ac:chgData name="Dharamveer Singh" userId="68fff2ab-0f4e-4042-8a08-b5b586242feb" providerId="ADAL" clId="{D8ECAC80-CEEB-44B6-AA50-4AF2021DC507}" dt="2021-11-18T14:55:59.339" v="40" actId="27803"/>
          <ac:spMkLst>
            <pc:docMk/>
            <pc:sldMk cId="1072258767" sldId="20985"/>
            <ac:spMk id="2073" creationId="{F3E2B0AE-45AA-418E-8B9E-F042E844D044}"/>
          </ac:spMkLst>
        </pc:spChg>
        <pc:spChg chg="mod">
          <ac:chgData name="Dharamveer Singh" userId="68fff2ab-0f4e-4042-8a08-b5b586242feb" providerId="ADAL" clId="{D8ECAC80-CEEB-44B6-AA50-4AF2021DC507}" dt="2021-11-18T14:55:59.339" v="40" actId="27803"/>
          <ac:spMkLst>
            <pc:docMk/>
            <pc:sldMk cId="1072258767" sldId="20985"/>
            <ac:spMk id="2074" creationId="{1CAD8608-16ED-4E70-94EB-9BBEFE7A07D8}"/>
          </ac:spMkLst>
        </pc:spChg>
        <pc:spChg chg="mod">
          <ac:chgData name="Dharamveer Singh" userId="68fff2ab-0f4e-4042-8a08-b5b586242feb" providerId="ADAL" clId="{D8ECAC80-CEEB-44B6-AA50-4AF2021DC507}" dt="2021-11-18T14:55:59.339" v="40" actId="27803"/>
          <ac:spMkLst>
            <pc:docMk/>
            <pc:sldMk cId="1072258767" sldId="20985"/>
            <ac:spMk id="2075" creationId="{8C54DE5F-D4F2-4AFA-BE44-F130D1A82C97}"/>
          </ac:spMkLst>
        </pc:spChg>
        <pc:spChg chg="mod">
          <ac:chgData name="Dharamveer Singh" userId="68fff2ab-0f4e-4042-8a08-b5b586242feb" providerId="ADAL" clId="{D8ECAC80-CEEB-44B6-AA50-4AF2021DC507}" dt="2021-11-18T14:55:59.339" v="40" actId="27803"/>
          <ac:spMkLst>
            <pc:docMk/>
            <pc:sldMk cId="1072258767" sldId="20985"/>
            <ac:spMk id="2076" creationId="{779103D1-8AA7-4A41-A341-5D24D2C21F83}"/>
          </ac:spMkLst>
        </pc:spChg>
        <pc:spChg chg="mod">
          <ac:chgData name="Dharamveer Singh" userId="68fff2ab-0f4e-4042-8a08-b5b586242feb" providerId="ADAL" clId="{D8ECAC80-CEEB-44B6-AA50-4AF2021DC507}" dt="2021-11-18T14:55:59.339" v="40" actId="27803"/>
          <ac:spMkLst>
            <pc:docMk/>
            <pc:sldMk cId="1072258767" sldId="20985"/>
            <ac:spMk id="2077" creationId="{6DF4F924-7303-458B-81A1-B28EED9AA9C4}"/>
          </ac:spMkLst>
        </pc:spChg>
        <pc:spChg chg="mod">
          <ac:chgData name="Dharamveer Singh" userId="68fff2ab-0f4e-4042-8a08-b5b586242feb" providerId="ADAL" clId="{D8ECAC80-CEEB-44B6-AA50-4AF2021DC507}" dt="2021-11-18T14:55:59.339" v="40" actId="27803"/>
          <ac:spMkLst>
            <pc:docMk/>
            <pc:sldMk cId="1072258767" sldId="20985"/>
            <ac:spMk id="2078" creationId="{F8588EA2-4539-42EA-9988-615517018E13}"/>
          </ac:spMkLst>
        </pc:spChg>
        <pc:spChg chg="mod">
          <ac:chgData name="Dharamveer Singh" userId="68fff2ab-0f4e-4042-8a08-b5b586242feb" providerId="ADAL" clId="{D8ECAC80-CEEB-44B6-AA50-4AF2021DC507}" dt="2021-11-18T14:55:59.339" v="40" actId="27803"/>
          <ac:spMkLst>
            <pc:docMk/>
            <pc:sldMk cId="1072258767" sldId="20985"/>
            <ac:spMk id="2079" creationId="{60AFA587-1E92-4B39-ADB5-E00FF2395A6D}"/>
          </ac:spMkLst>
        </pc:spChg>
        <pc:grpChg chg="mod">
          <ac:chgData name="Dharamveer Singh" userId="68fff2ab-0f4e-4042-8a08-b5b586242feb" providerId="ADAL" clId="{D8ECAC80-CEEB-44B6-AA50-4AF2021DC507}" dt="2021-11-18T14:55:59.339" v="40" actId="27803"/>
          <ac:grpSpMkLst>
            <pc:docMk/>
            <pc:sldMk cId="1072258767" sldId="20985"/>
            <ac:grpSpMk id="15" creationId="{2166DAC1-04E4-4880-890F-A2013F73D977}"/>
          </ac:grpSpMkLst>
        </pc:grpChg>
        <pc:picChg chg="mod">
          <ac:chgData name="Dharamveer Singh" userId="68fff2ab-0f4e-4042-8a08-b5b586242feb" providerId="ADAL" clId="{D8ECAC80-CEEB-44B6-AA50-4AF2021DC507}" dt="2021-11-18T14:55:59.339" v="40" actId="27803"/>
          <ac:picMkLst>
            <pc:docMk/>
            <pc:sldMk cId="1072258767" sldId="20985"/>
            <ac:picMk id="2" creationId="{7A2D54B4-B583-44D4-827C-0906F78D4543}"/>
          </ac:picMkLst>
        </pc:picChg>
        <pc:picChg chg="del mod ord">
          <ac:chgData name="Dharamveer Singh" userId="68fff2ab-0f4e-4042-8a08-b5b586242feb" providerId="ADAL" clId="{D8ECAC80-CEEB-44B6-AA50-4AF2021DC507}" dt="2021-11-18T14:55:59.339" v="40" actId="27803"/>
          <ac:picMkLst>
            <pc:docMk/>
            <pc:sldMk cId="1072258767" sldId="20985"/>
            <ac:picMk id="5" creationId="{2166DAC1-04E4-4880-890F-A2013F73D977}"/>
          </ac:picMkLst>
        </pc:picChg>
        <pc:picChg chg="mod">
          <ac:chgData name="Dharamveer Singh" userId="68fff2ab-0f4e-4042-8a08-b5b586242feb" providerId="ADAL" clId="{D8ECAC80-CEEB-44B6-AA50-4AF2021DC507}" dt="2021-11-18T14:55:59.339" v="40" actId="27803"/>
          <ac:picMkLst>
            <pc:docMk/>
            <pc:sldMk cId="1072258767" sldId="20985"/>
            <ac:picMk id="25" creationId="{A09E5B3F-F3C5-4343-A3CA-77295F435D28}"/>
          </ac:picMkLst>
        </pc:picChg>
        <pc:picChg chg="mod">
          <ac:chgData name="Dharamveer Singh" userId="68fff2ab-0f4e-4042-8a08-b5b586242feb" providerId="ADAL" clId="{D8ECAC80-CEEB-44B6-AA50-4AF2021DC507}" dt="2021-11-18T14:55:59.339" v="40" actId="27803"/>
          <ac:picMkLst>
            <pc:docMk/>
            <pc:sldMk cId="1072258767" sldId="20985"/>
            <ac:picMk id="2054" creationId="{3B223018-6077-4A6A-9BA7-E27CB51F8048}"/>
          </ac:picMkLst>
        </pc:picChg>
        <pc:picChg chg="mod">
          <ac:chgData name="Dharamveer Singh" userId="68fff2ab-0f4e-4042-8a08-b5b586242feb" providerId="ADAL" clId="{D8ECAC80-CEEB-44B6-AA50-4AF2021DC507}" dt="2021-11-18T14:55:59.339" v="40" actId="27803"/>
          <ac:picMkLst>
            <pc:docMk/>
            <pc:sldMk cId="1072258767" sldId="20985"/>
            <ac:picMk id="2056" creationId="{5735440D-4A20-4C7C-8ABA-41862CC5078F}"/>
          </ac:picMkLst>
        </pc:picChg>
        <pc:picChg chg="mod">
          <ac:chgData name="Dharamveer Singh" userId="68fff2ab-0f4e-4042-8a08-b5b586242feb" providerId="ADAL" clId="{D8ECAC80-CEEB-44B6-AA50-4AF2021DC507}" dt="2021-11-18T14:55:59.339" v="40" actId="27803"/>
          <ac:picMkLst>
            <pc:docMk/>
            <pc:sldMk cId="1072258767" sldId="20985"/>
            <ac:picMk id="2058" creationId="{DE61FAC2-967E-402D-9349-3A9332AA6AB8}"/>
          </ac:picMkLst>
        </pc:picChg>
        <pc:picChg chg="mod">
          <ac:chgData name="Dharamveer Singh" userId="68fff2ab-0f4e-4042-8a08-b5b586242feb" providerId="ADAL" clId="{D8ECAC80-CEEB-44B6-AA50-4AF2021DC507}" dt="2021-11-18T14:55:59.339" v="40" actId="27803"/>
          <ac:picMkLst>
            <pc:docMk/>
            <pc:sldMk cId="1072258767" sldId="20985"/>
            <ac:picMk id="2060" creationId="{5824E5E4-D254-4522-AE21-D12F2C75A506}"/>
          </ac:picMkLst>
        </pc:picChg>
        <pc:cxnChg chg="mod">
          <ac:chgData name="Dharamveer Singh" userId="68fff2ab-0f4e-4042-8a08-b5b586242feb" providerId="ADAL" clId="{D8ECAC80-CEEB-44B6-AA50-4AF2021DC507}" dt="2021-11-18T14:55:59.339" v="40" actId="27803"/>
          <ac:cxnSpMkLst>
            <pc:docMk/>
            <pc:sldMk cId="1072258767" sldId="20985"/>
            <ac:cxnSpMk id="12" creationId="{5C1FB346-2839-472E-BCBD-E7720289D8AA}"/>
          </ac:cxnSpMkLst>
        </pc:cxnChg>
        <pc:cxnChg chg="mod">
          <ac:chgData name="Dharamveer Singh" userId="68fff2ab-0f4e-4042-8a08-b5b586242feb" providerId="ADAL" clId="{D8ECAC80-CEEB-44B6-AA50-4AF2021DC507}" dt="2021-11-18T14:55:59.339" v="40" actId="27803"/>
          <ac:cxnSpMkLst>
            <pc:docMk/>
            <pc:sldMk cId="1072258767" sldId="20985"/>
            <ac:cxnSpMk id="16" creationId="{A6CC27D3-A48C-4E44-B7E4-99CCEAAF4CD2}"/>
          </ac:cxnSpMkLst>
        </pc:cxnChg>
        <pc:cxnChg chg="add del mod">
          <ac:chgData name="Dharamveer Singh" userId="68fff2ab-0f4e-4042-8a08-b5b586242feb" providerId="ADAL" clId="{D8ECAC80-CEEB-44B6-AA50-4AF2021DC507}" dt="2021-11-18T15:06:13.095" v="118" actId="14100"/>
          <ac:cxnSpMkLst>
            <pc:docMk/>
            <pc:sldMk cId="1072258767" sldId="20985"/>
            <ac:cxnSpMk id="17" creationId="{F70C6B27-E8E0-40F7-86C7-19D4438F0DA7}"/>
          </ac:cxnSpMkLst>
        </pc:cxnChg>
        <pc:cxnChg chg="add del mod">
          <ac:chgData name="Dharamveer Singh" userId="68fff2ab-0f4e-4042-8a08-b5b586242feb" providerId="ADAL" clId="{D8ECAC80-CEEB-44B6-AA50-4AF2021DC507}" dt="2021-11-18T15:06:08.312" v="117" actId="14100"/>
          <ac:cxnSpMkLst>
            <pc:docMk/>
            <pc:sldMk cId="1072258767" sldId="20985"/>
            <ac:cxnSpMk id="19" creationId="{00D693F9-7289-4D0D-B164-B8AA5DBC5D09}"/>
          </ac:cxnSpMkLst>
        </pc:cxnChg>
        <pc:cxnChg chg="mod">
          <ac:chgData name="Dharamveer Singh" userId="68fff2ab-0f4e-4042-8a08-b5b586242feb" providerId="ADAL" clId="{D8ECAC80-CEEB-44B6-AA50-4AF2021DC507}" dt="2021-11-18T15:09:37.153" v="123" actId="1076"/>
          <ac:cxnSpMkLst>
            <pc:docMk/>
            <pc:sldMk cId="1072258767" sldId="20985"/>
            <ac:cxnSpMk id="21" creationId="{3C3DE328-25A6-42AF-B309-11D94A4D2EB9}"/>
          </ac:cxnSpMkLst>
        </pc:cxnChg>
        <pc:cxnChg chg="mod">
          <ac:chgData name="Dharamveer Singh" userId="68fff2ab-0f4e-4042-8a08-b5b586242feb" providerId="ADAL" clId="{D8ECAC80-CEEB-44B6-AA50-4AF2021DC507}" dt="2021-11-18T14:55:59.339" v="40" actId="27803"/>
          <ac:cxnSpMkLst>
            <pc:docMk/>
            <pc:sldMk cId="1072258767" sldId="20985"/>
            <ac:cxnSpMk id="24" creationId="{A32FFC80-187D-4F4D-A4F0-7408570B9606}"/>
          </ac:cxnSpMkLst>
        </pc:cxnChg>
        <pc:cxnChg chg="add mod">
          <ac:chgData name="Dharamveer Singh" userId="68fff2ab-0f4e-4042-8a08-b5b586242feb" providerId="ADAL" clId="{D8ECAC80-CEEB-44B6-AA50-4AF2021DC507}" dt="2021-11-18T14:55:59.339" v="40" actId="27803"/>
          <ac:cxnSpMkLst>
            <pc:docMk/>
            <pc:sldMk cId="1072258767" sldId="20985"/>
            <ac:cxnSpMk id="26" creationId="{0F4D29FC-A250-47FB-94D4-14CD7F7A5674}"/>
          </ac:cxnSpMkLst>
        </pc:cxnChg>
        <pc:cxnChg chg="add del mod">
          <ac:chgData name="Dharamveer Singh" userId="68fff2ab-0f4e-4042-8a08-b5b586242feb" providerId="ADAL" clId="{D8ECAC80-CEEB-44B6-AA50-4AF2021DC507}" dt="2021-11-18T15:05:38.884" v="115" actId="478"/>
          <ac:cxnSpMkLst>
            <pc:docMk/>
            <pc:sldMk cId="1072258767" sldId="20985"/>
            <ac:cxnSpMk id="66" creationId="{E298308D-68AC-4DD6-AA9A-CCF242465867}"/>
          </ac:cxnSpMkLst>
        </pc:cxnChg>
        <pc:cxnChg chg="add mod">
          <ac:chgData name="Dharamveer Singh" userId="68fff2ab-0f4e-4042-8a08-b5b586242feb" providerId="ADAL" clId="{D8ECAC80-CEEB-44B6-AA50-4AF2021DC507}" dt="2021-11-18T15:09:23.369" v="122" actId="14100"/>
          <ac:cxnSpMkLst>
            <pc:docMk/>
            <pc:sldMk cId="1072258767" sldId="20985"/>
            <ac:cxnSpMk id="70" creationId="{DBD00873-AFD8-4711-9492-1D7C3A2BACFE}"/>
          </ac:cxnSpMkLst>
        </pc:cxn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0A178AD-F26D-4960-917E-DAD0032EA238}" type="doc">
      <dgm:prSet loTypeId="urn:microsoft.com/office/officeart/2011/layout/ConvergingText" loCatId="officeonline" qsTypeId="urn:microsoft.com/office/officeart/2005/8/quickstyle/simple1" qsCatId="simple" csTypeId="urn:microsoft.com/office/officeart/2005/8/colors/accent1_2" csCatId="accent1" phldr="1"/>
      <dgm:spPr/>
      <dgm:t>
        <a:bodyPr/>
        <a:lstStyle/>
        <a:p>
          <a:endParaRPr lang="en-IN"/>
        </a:p>
      </dgm:t>
    </dgm:pt>
    <dgm:pt modelId="{14C00E50-BB07-45FA-9854-663D965C6D51}">
      <dgm:prSet phldrT="[Text]"/>
      <dgm:spPr/>
      <dgm:t>
        <a:bodyPr/>
        <a:lstStyle/>
        <a:p>
          <a:r>
            <a:rPr lang="en-IN" dirty="0"/>
            <a:t>Supplier Accreditation -Carbon foot print</a:t>
          </a:r>
        </a:p>
        <a:p>
          <a:r>
            <a:rPr lang="en-IN" dirty="0"/>
            <a:t>-ESG score</a:t>
          </a:r>
        </a:p>
      </dgm:t>
    </dgm:pt>
    <dgm:pt modelId="{73990A09-07D5-4387-8B01-5D5D62ED371A}" type="parTrans" cxnId="{EEB9DB43-0995-4105-89E7-725E366F571E}">
      <dgm:prSet/>
      <dgm:spPr/>
      <dgm:t>
        <a:bodyPr/>
        <a:lstStyle/>
        <a:p>
          <a:endParaRPr lang="en-IN"/>
        </a:p>
      </dgm:t>
    </dgm:pt>
    <dgm:pt modelId="{50D033A8-2131-4EE8-A361-5960F2023B83}" type="sibTrans" cxnId="{EEB9DB43-0995-4105-89E7-725E366F571E}">
      <dgm:prSet/>
      <dgm:spPr/>
      <dgm:t>
        <a:bodyPr/>
        <a:lstStyle/>
        <a:p>
          <a:endParaRPr lang="en-IN"/>
        </a:p>
      </dgm:t>
    </dgm:pt>
    <dgm:pt modelId="{8ADF2ADB-F7D8-44D0-80BF-152E29A13C0A}">
      <dgm:prSet phldrT="[Text]" custT="1"/>
      <dgm:spPr/>
      <dgm:t>
        <a:bodyPr/>
        <a:lstStyle/>
        <a:p>
          <a:r>
            <a:rPr lang="en-IN" sz="1200" dirty="0">
              <a:solidFill>
                <a:schemeClr val="bg1"/>
              </a:solidFill>
            </a:rPr>
            <a:t>Failed Deliveries due to inaccurate addresses</a:t>
          </a:r>
        </a:p>
      </dgm:t>
    </dgm:pt>
    <dgm:pt modelId="{70D80BE4-2BD3-499D-85A4-BB6A2278B3FB}" type="parTrans" cxnId="{A60F834A-2028-43AC-824A-DF371709AF53}">
      <dgm:prSet/>
      <dgm:spPr/>
      <dgm:t>
        <a:bodyPr/>
        <a:lstStyle/>
        <a:p>
          <a:endParaRPr lang="en-IN"/>
        </a:p>
      </dgm:t>
    </dgm:pt>
    <dgm:pt modelId="{4D485C85-E675-412D-9973-A9D6113FD745}" type="sibTrans" cxnId="{A60F834A-2028-43AC-824A-DF371709AF53}">
      <dgm:prSet/>
      <dgm:spPr/>
      <dgm:t>
        <a:bodyPr/>
        <a:lstStyle/>
        <a:p>
          <a:endParaRPr lang="en-IN"/>
        </a:p>
      </dgm:t>
    </dgm:pt>
    <dgm:pt modelId="{AD980AB9-8FC1-43D4-B025-60F1E2CAF53D}">
      <dgm:prSet phldrT="[Text]" custT="1"/>
      <dgm:spPr/>
      <dgm:t>
        <a:bodyPr/>
        <a:lstStyle/>
        <a:p>
          <a:r>
            <a:rPr lang="en-IN" sz="1200" dirty="0">
              <a:solidFill>
                <a:schemeClr val="bg1"/>
              </a:solidFill>
            </a:rPr>
            <a:t>Carbon emissions with each delivery</a:t>
          </a:r>
        </a:p>
      </dgm:t>
    </dgm:pt>
    <dgm:pt modelId="{333661C7-719B-4749-9D66-EC42E0E3CA22}" type="parTrans" cxnId="{9D48994B-1F85-4087-B1FA-300D390AAF8C}">
      <dgm:prSet/>
      <dgm:spPr/>
      <dgm:t>
        <a:bodyPr/>
        <a:lstStyle/>
        <a:p>
          <a:endParaRPr lang="en-IN"/>
        </a:p>
      </dgm:t>
    </dgm:pt>
    <dgm:pt modelId="{D03B3623-3A80-47AC-A94F-6FAA7688C130}" type="sibTrans" cxnId="{9D48994B-1F85-4087-B1FA-300D390AAF8C}">
      <dgm:prSet/>
      <dgm:spPr/>
      <dgm:t>
        <a:bodyPr/>
        <a:lstStyle/>
        <a:p>
          <a:endParaRPr lang="en-IN"/>
        </a:p>
      </dgm:t>
    </dgm:pt>
    <dgm:pt modelId="{54F765BF-7340-4601-92BD-89DB50923D6A}">
      <dgm:prSet phldrT="[Text]" custT="1"/>
      <dgm:spPr/>
      <dgm:t>
        <a:bodyPr/>
        <a:lstStyle/>
        <a:p>
          <a:r>
            <a:rPr lang="en-IN" sz="1200" dirty="0">
              <a:solidFill>
                <a:schemeClr val="bg1"/>
              </a:solidFill>
            </a:rPr>
            <a:t>Geo route and their related carbon dioxide emissions</a:t>
          </a:r>
        </a:p>
      </dgm:t>
    </dgm:pt>
    <dgm:pt modelId="{DA20E8ED-5EA6-4A0A-9CF7-5EAC727D2917}" type="parTrans" cxnId="{51DC11BD-5A9E-4BFF-A780-F0269F242513}">
      <dgm:prSet/>
      <dgm:spPr/>
      <dgm:t>
        <a:bodyPr/>
        <a:lstStyle/>
        <a:p>
          <a:endParaRPr lang="en-IN"/>
        </a:p>
      </dgm:t>
    </dgm:pt>
    <dgm:pt modelId="{28395127-D4FD-4305-8276-5B48FA2BA54A}" type="sibTrans" cxnId="{51DC11BD-5A9E-4BFF-A780-F0269F242513}">
      <dgm:prSet/>
      <dgm:spPr/>
      <dgm:t>
        <a:bodyPr/>
        <a:lstStyle/>
        <a:p>
          <a:endParaRPr lang="en-IN"/>
        </a:p>
      </dgm:t>
    </dgm:pt>
    <dgm:pt modelId="{5126A8E4-0DAE-4ECD-A105-F3519F0295C3}">
      <dgm:prSet phldrT="[Text]" custT="1"/>
      <dgm:spPr/>
      <dgm:t>
        <a:bodyPr/>
        <a:lstStyle/>
        <a:p>
          <a:r>
            <a:rPr lang="en-IN" sz="1200" dirty="0">
              <a:solidFill>
                <a:schemeClr val="bg1"/>
              </a:solidFill>
            </a:rPr>
            <a:t>Depending on route of delivery, vehicle selection based on emissions levels</a:t>
          </a:r>
        </a:p>
      </dgm:t>
    </dgm:pt>
    <dgm:pt modelId="{ED46F1F3-1D5F-4265-BBD3-C9586E4C5C1F}" type="parTrans" cxnId="{7DBF148D-7935-4901-8C78-66539B6AF40C}">
      <dgm:prSet/>
      <dgm:spPr/>
      <dgm:t>
        <a:bodyPr/>
        <a:lstStyle/>
        <a:p>
          <a:endParaRPr lang="en-IN"/>
        </a:p>
      </dgm:t>
    </dgm:pt>
    <dgm:pt modelId="{FCE199F3-C3BD-4441-9F7A-FDB42E2BEF67}" type="sibTrans" cxnId="{7DBF148D-7935-4901-8C78-66539B6AF40C}">
      <dgm:prSet/>
      <dgm:spPr/>
      <dgm:t>
        <a:bodyPr/>
        <a:lstStyle/>
        <a:p>
          <a:endParaRPr lang="en-IN"/>
        </a:p>
      </dgm:t>
    </dgm:pt>
    <dgm:pt modelId="{D2DA397C-DE4C-4458-A921-DE574A032E3D}">
      <dgm:prSet phldrT="[Text]" custT="1"/>
      <dgm:spPr/>
      <dgm:t>
        <a:bodyPr/>
        <a:lstStyle/>
        <a:p>
          <a:r>
            <a:rPr lang="en-IN" sz="1200" dirty="0">
              <a:solidFill>
                <a:schemeClr val="bg1"/>
              </a:solidFill>
            </a:rPr>
            <a:t>Packaging cost per delivery</a:t>
          </a:r>
        </a:p>
      </dgm:t>
    </dgm:pt>
    <dgm:pt modelId="{69D0254E-914C-4F0B-9E9D-62410A828F1D}" type="parTrans" cxnId="{15A5F5AB-D0AB-4975-A64E-D3FFEE84A064}">
      <dgm:prSet/>
      <dgm:spPr/>
      <dgm:t>
        <a:bodyPr/>
        <a:lstStyle/>
        <a:p>
          <a:endParaRPr lang="en-IN"/>
        </a:p>
      </dgm:t>
    </dgm:pt>
    <dgm:pt modelId="{7CBE1C79-6F0A-4ABD-91FD-C4928C05FED0}" type="sibTrans" cxnId="{15A5F5AB-D0AB-4975-A64E-D3FFEE84A064}">
      <dgm:prSet/>
      <dgm:spPr/>
      <dgm:t>
        <a:bodyPr/>
        <a:lstStyle/>
        <a:p>
          <a:endParaRPr lang="en-IN"/>
        </a:p>
      </dgm:t>
    </dgm:pt>
    <dgm:pt modelId="{6026DCA1-4240-4094-B6B0-74CC9D9A5EE7}" type="pres">
      <dgm:prSet presAssocID="{80A178AD-F26D-4960-917E-DAD0032EA238}" presName="Name0" presStyleCnt="0">
        <dgm:presLayoutVars>
          <dgm:chMax/>
          <dgm:chPref val="1"/>
          <dgm:dir/>
          <dgm:animOne val="branch"/>
          <dgm:animLvl val="lvl"/>
          <dgm:resizeHandles/>
        </dgm:presLayoutVars>
      </dgm:prSet>
      <dgm:spPr/>
    </dgm:pt>
    <dgm:pt modelId="{4E86EAAC-7074-49F2-BDCF-31AC19181B1A}" type="pres">
      <dgm:prSet presAssocID="{14C00E50-BB07-45FA-9854-663D965C6D51}" presName="composite" presStyleCnt="0"/>
      <dgm:spPr/>
    </dgm:pt>
    <dgm:pt modelId="{190E255A-1207-4534-921C-F232EAE104D4}" type="pres">
      <dgm:prSet presAssocID="{14C00E50-BB07-45FA-9854-663D965C6D51}" presName="ParentAccent1" presStyleLbl="alignNode1" presStyleIdx="0" presStyleCnt="51"/>
      <dgm:spPr/>
    </dgm:pt>
    <dgm:pt modelId="{9D6D89C4-6F22-49BC-AC49-58C80CF09FD8}" type="pres">
      <dgm:prSet presAssocID="{14C00E50-BB07-45FA-9854-663D965C6D51}" presName="ParentAccent2" presStyleLbl="alignNode1" presStyleIdx="1" presStyleCnt="51"/>
      <dgm:spPr/>
    </dgm:pt>
    <dgm:pt modelId="{8DDF6160-EF79-40B1-AB1E-F33D51928D03}" type="pres">
      <dgm:prSet presAssocID="{14C00E50-BB07-45FA-9854-663D965C6D51}" presName="ParentAccent3" presStyleLbl="alignNode1" presStyleIdx="2" presStyleCnt="51"/>
      <dgm:spPr/>
    </dgm:pt>
    <dgm:pt modelId="{C9CBEEE8-5F2F-487E-861A-21ED29679134}" type="pres">
      <dgm:prSet presAssocID="{14C00E50-BB07-45FA-9854-663D965C6D51}" presName="ParentAccent4" presStyleLbl="alignNode1" presStyleIdx="3" presStyleCnt="51"/>
      <dgm:spPr/>
    </dgm:pt>
    <dgm:pt modelId="{0C5AE6F1-85A1-4054-A7AB-688413CD130C}" type="pres">
      <dgm:prSet presAssocID="{14C00E50-BB07-45FA-9854-663D965C6D51}" presName="ParentAccent5" presStyleLbl="alignNode1" presStyleIdx="4" presStyleCnt="51"/>
      <dgm:spPr/>
    </dgm:pt>
    <dgm:pt modelId="{14FB2640-8DA1-45CC-96DF-FC6855594121}" type="pres">
      <dgm:prSet presAssocID="{14C00E50-BB07-45FA-9854-663D965C6D51}" presName="ParentAccent6" presStyleLbl="alignNode1" presStyleIdx="5" presStyleCnt="51"/>
      <dgm:spPr/>
    </dgm:pt>
    <dgm:pt modelId="{94DE37C3-1D8B-4A73-9F20-969D2A3509F0}" type="pres">
      <dgm:prSet presAssocID="{14C00E50-BB07-45FA-9854-663D965C6D51}" presName="ParentAccent7" presStyleLbl="alignNode1" presStyleIdx="6" presStyleCnt="51"/>
      <dgm:spPr/>
    </dgm:pt>
    <dgm:pt modelId="{593B37BC-9CC4-401E-97EB-729DC15F0DA4}" type="pres">
      <dgm:prSet presAssocID="{14C00E50-BB07-45FA-9854-663D965C6D51}" presName="ParentAccent8" presStyleLbl="alignNode1" presStyleIdx="7" presStyleCnt="51"/>
      <dgm:spPr/>
    </dgm:pt>
    <dgm:pt modelId="{7E6917C9-0CF1-43B3-A8B3-6D54CC882512}" type="pres">
      <dgm:prSet presAssocID="{14C00E50-BB07-45FA-9854-663D965C6D51}" presName="ParentAccent9" presStyleLbl="alignNode1" presStyleIdx="8" presStyleCnt="51"/>
      <dgm:spPr/>
    </dgm:pt>
    <dgm:pt modelId="{E9E221D6-C6C3-404C-B7E6-93D43A343EF7}" type="pres">
      <dgm:prSet presAssocID="{14C00E50-BB07-45FA-9854-663D965C6D51}" presName="ParentAccent10" presStyleLbl="alignNode1" presStyleIdx="9" presStyleCnt="51"/>
      <dgm:spPr/>
    </dgm:pt>
    <dgm:pt modelId="{5C08A5E4-A4E9-4F37-8066-0DFDA24B43BF}" type="pres">
      <dgm:prSet presAssocID="{14C00E50-BB07-45FA-9854-663D965C6D51}" presName="Parent" presStyleLbl="alignNode1" presStyleIdx="10" presStyleCnt="51">
        <dgm:presLayoutVars>
          <dgm:chMax val="5"/>
          <dgm:chPref val="3"/>
          <dgm:bulletEnabled val="1"/>
        </dgm:presLayoutVars>
      </dgm:prSet>
      <dgm:spPr/>
    </dgm:pt>
    <dgm:pt modelId="{35457D79-7755-46D0-A6BA-5FA7FD01DB1D}" type="pres">
      <dgm:prSet presAssocID="{8ADF2ADB-F7D8-44D0-80BF-152E29A13C0A}" presName="Child1Accent1" presStyleLbl="alignNode1" presStyleIdx="11" presStyleCnt="51"/>
      <dgm:spPr/>
    </dgm:pt>
    <dgm:pt modelId="{BEAC6411-3D80-4949-BE6C-E2794639F9BE}" type="pres">
      <dgm:prSet presAssocID="{8ADF2ADB-F7D8-44D0-80BF-152E29A13C0A}" presName="Child1Accent2" presStyleLbl="alignNode1" presStyleIdx="12" presStyleCnt="51"/>
      <dgm:spPr/>
    </dgm:pt>
    <dgm:pt modelId="{286C09F9-7485-4485-861D-5C10084EAB7F}" type="pres">
      <dgm:prSet presAssocID="{8ADF2ADB-F7D8-44D0-80BF-152E29A13C0A}" presName="Child1Accent3" presStyleLbl="alignNode1" presStyleIdx="13" presStyleCnt="51"/>
      <dgm:spPr/>
    </dgm:pt>
    <dgm:pt modelId="{F37547E8-25A7-4804-A169-DA115367C8AB}" type="pres">
      <dgm:prSet presAssocID="{8ADF2ADB-F7D8-44D0-80BF-152E29A13C0A}" presName="Child1Accent4" presStyleLbl="alignNode1" presStyleIdx="14" presStyleCnt="51"/>
      <dgm:spPr/>
    </dgm:pt>
    <dgm:pt modelId="{5B6F91FA-A1C0-4A98-A8A4-DCF1BEB86C10}" type="pres">
      <dgm:prSet presAssocID="{8ADF2ADB-F7D8-44D0-80BF-152E29A13C0A}" presName="Child1Accent5" presStyleLbl="alignNode1" presStyleIdx="15" presStyleCnt="51"/>
      <dgm:spPr/>
    </dgm:pt>
    <dgm:pt modelId="{203912D7-9CF9-4315-B0A0-A5BD6365DCE3}" type="pres">
      <dgm:prSet presAssocID="{8ADF2ADB-F7D8-44D0-80BF-152E29A13C0A}" presName="Child1Accent6" presStyleLbl="alignNode1" presStyleIdx="16" presStyleCnt="51"/>
      <dgm:spPr/>
    </dgm:pt>
    <dgm:pt modelId="{D487139D-F2CF-4331-94D8-DB9B6794DF9F}" type="pres">
      <dgm:prSet presAssocID="{8ADF2ADB-F7D8-44D0-80BF-152E29A13C0A}" presName="Child1Accent7" presStyleLbl="alignNode1" presStyleIdx="17" presStyleCnt="51"/>
      <dgm:spPr/>
    </dgm:pt>
    <dgm:pt modelId="{E3431CD3-4316-44FB-842E-13F17C1B7C5D}" type="pres">
      <dgm:prSet presAssocID="{8ADF2ADB-F7D8-44D0-80BF-152E29A13C0A}" presName="Child1Accent8" presStyleLbl="alignNode1" presStyleIdx="18" presStyleCnt="51"/>
      <dgm:spPr/>
    </dgm:pt>
    <dgm:pt modelId="{EBE765D5-C1F5-400A-93FB-9DF72F5DB8E3}" type="pres">
      <dgm:prSet presAssocID="{8ADF2ADB-F7D8-44D0-80BF-152E29A13C0A}" presName="Child1Accent9" presStyleLbl="alignNode1" presStyleIdx="19" presStyleCnt="51"/>
      <dgm:spPr/>
    </dgm:pt>
    <dgm:pt modelId="{A25ABEF3-BCB6-4E64-99B0-ABD259CA670C}" type="pres">
      <dgm:prSet presAssocID="{8ADF2ADB-F7D8-44D0-80BF-152E29A13C0A}" presName="Child1" presStyleLbl="revTx" presStyleIdx="0" presStyleCnt="5" custScaleX="158694" custLinFactNeighborX="-32436" custLinFactNeighborY="1996">
        <dgm:presLayoutVars>
          <dgm:chMax/>
          <dgm:chPref val="0"/>
          <dgm:bulletEnabled val="1"/>
        </dgm:presLayoutVars>
      </dgm:prSet>
      <dgm:spPr/>
    </dgm:pt>
    <dgm:pt modelId="{758EEDC7-E72B-402E-89DB-3F7582304726}" type="pres">
      <dgm:prSet presAssocID="{AD980AB9-8FC1-43D4-B025-60F1E2CAF53D}" presName="Child2Accent1" presStyleLbl="alignNode1" presStyleIdx="20" presStyleCnt="51"/>
      <dgm:spPr/>
    </dgm:pt>
    <dgm:pt modelId="{C9563727-C422-4773-B3C8-28019C55F062}" type="pres">
      <dgm:prSet presAssocID="{AD980AB9-8FC1-43D4-B025-60F1E2CAF53D}" presName="Child2Accent2" presStyleLbl="alignNode1" presStyleIdx="21" presStyleCnt="51"/>
      <dgm:spPr/>
    </dgm:pt>
    <dgm:pt modelId="{53392262-5AF8-4E5F-97D6-D5E0DDC0AAB6}" type="pres">
      <dgm:prSet presAssocID="{AD980AB9-8FC1-43D4-B025-60F1E2CAF53D}" presName="Child2Accent3" presStyleLbl="alignNode1" presStyleIdx="22" presStyleCnt="51"/>
      <dgm:spPr/>
    </dgm:pt>
    <dgm:pt modelId="{5734984D-2634-4EF6-9543-6FCFB95B18CA}" type="pres">
      <dgm:prSet presAssocID="{AD980AB9-8FC1-43D4-B025-60F1E2CAF53D}" presName="Child2Accent4" presStyleLbl="alignNode1" presStyleIdx="23" presStyleCnt="51"/>
      <dgm:spPr/>
    </dgm:pt>
    <dgm:pt modelId="{67CCA256-155A-4E3E-9FD7-B517E9143A1B}" type="pres">
      <dgm:prSet presAssocID="{AD980AB9-8FC1-43D4-B025-60F1E2CAF53D}" presName="Child2Accent5" presStyleLbl="alignNode1" presStyleIdx="24" presStyleCnt="51"/>
      <dgm:spPr/>
    </dgm:pt>
    <dgm:pt modelId="{EABDA6A7-AEEA-4EAF-8C16-BAA998F995C9}" type="pres">
      <dgm:prSet presAssocID="{AD980AB9-8FC1-43D4-B025-60F1E2CAF53D}" presName="Child2Accent6" presStyleLbl="alignNode1" presStyleIdx="25" presStyleCnt="51"/>
      <dgm:spPr/>
    </dgm:pt>
    <dgm:pt modelId="{F2CA9FC1-30D3-4753-A49A-3D87714ED8DB}" type="pres">
      <dgm:prSet presAssocID="{AD980AB9-8FC1-43D4-B025-60F1E2CAF53D}" presName="Child2Accent7" presStyleLbl="alignNode1" presStyleIdx="26" presStyleCnt="51"/>
      <dgm:spPr/>
    </dgm:pt>
    <dgm:pt modelId="{E9280B79-E138-4036-8250-962466DF38AD}" type="pres">
      <dgm:prSet presAssocID="{AD980AB9-8FC1-43D4-B025-60F1E2CAF53D}" presName="Child2" presStyleLbl="revTx" presStyleIdx="1" presStyleCnt="5" custScaleX="158694" custLinFactNeighborX="-12708">
        <dgm:presLayoutVars>
          <dgm:chMax/>
          <dgm:chPref val="0"/>
          <dgm:bulletEnabled val="1"/>
        </dgm:presLayoutVars>
      </dgm:prSet>
      <dgm:spPr/>
    </dgm:pt>
    <dgm:pt modelId="{003C8533-1759-408B-9875-5E4B25E77EBA}" type="pres">
      <dgm:prSet presAssocID="{54F765BF-7340-4601-92BD-89DB50923D6A}" presName="Child3Accent1" presStyleLbl="alignNode1" presStyleIdx="27" presStyleCnt="51"/>
      <dgm:spPr/>
    </dgm:pt>
    <dgm:pt modelId="{C2B5D1D9-8AE0-4E89-BCAC-99AEE8348A3E}" type="pres">
      <dgm:prSet presAssocID="{54F765BF-7340-4601-92BD-89DB50923D6A}" presName="Child3Accent2" presStyleLbl="alignNode1" presStyleIdx="28" presStyleCnt="51"/>
      <dgm:spPr/>
    </dgm:pt>
    <dgm:pt modelId="{C7C15B43-1ABD-4CF0-9981-DC2496291228}" type="pres">
      <dgm:prSet presAssocID="{54F765BF-7340-4601-92BD-89DB50923D6A}" presName="Child3Accent3" presStyleLbl="alignNode1" presStyleIdx="29" presStyleCnt="51"/>
      <dgm:spPr/>
    </dgm:pt>
    <dgm:pt modelId="{DC4D4DE6-0E25-474D-BEFE-62147798585D}" type="pres">
      <dgm:prSet presAssocID="{54F765BF-7340-4601-92BD-89DB50923D6A}" presName="Child3Accent4" presStyleLbl="alignNode1" presStyleIdx="30" presStyleCnt="51"/>
      <dgm:spPr/>
    </dgm:pt>
    <dgm:pt modelId="{5D2E1F5C-7C6D-4F9E-9C74-748EDA3A9C65}" type="pres">
      <dgm:prSet presAssocID="{54F765BF-7340-4601-92BD-89DB50923D6A}" presName="Child3Accent5" presStyleLbl="alignNode1" presStyleIdx="31" presStyleCnt="51"/>
      <dgm:spPr/>
    </dgm:pt>
    <dgm:pt modelId="{7F0BE110-6CB2-46A5-833F-F860460C990A}" type="pres">
      <dgm:prSet presAssocID="{54F765BF-7340-4601-92BD-89DB50923D6A}" presName="Child3Accent6" presStyleLbl="alignNode1" presStyleIdx="32" presStyleCnt="51"/>
      <dgm:spPr/>
    </dgm:pt>
    <dgm:pt modelId="{D1C315FE-C48B-4BAF-9B60-FBA3B58AD98E}" type="pres">
      <dgm:prSet presAssocID="{54F765BF-7340-4601-92BD-89DB50923D6A}" presName="Child3Accent7" presStyleLbl="alignNode1" presStyleIdx="33" presStyleCnt="51"/>
      <dgm:spPr/>
    </dgm:pt>
    <dgm:pt modelId="{DFE3DF31-C948-4803-9324-D94D715511EE}" type="pres">
      <dgm:prSet presAssocID="{54F765BF-7340-4601-92BD-89DB50923D6A}" presName="Child3" presStyleLbl="revTx" presStyleIdx="2" presStyleCnt="5" custScaleX="268463" custLinFactNeighborX="-3479" custLinFactNeighborY="-25946">
        <dgm:presLayoutVars>
          <dgm:chMax/>
          <dgm:chPref val="0"/>
          <dgm:bulletEnabled val="1"/>
        </dgm:presLayoutVars>
      </dgm:prSet>
      <dgm:spPr/>
    </dgm:pt>
    <dgm:pt modelId="{3CCDFB92-CA55-4A74-BC0A-BD9990101AE8}" type="pres">
      <dgm:prSet presAssocID="{5126A8E4-0DAE-4ECD-A105-F3519F0295C3}" presName="Child4Accent1" presStyleLbl="alignNode1" presStyleIdx="34" presStyleCnt="51"/>
      <dgm:spPr/>
    </dgm:pt>
    <dgm:pt modelId="{2DF1A742-936D-48CF-BE34-3E94F92C95FF}" type="pres">
      <dgm:prSet presAssocID="{5126A8E4-0DAE-4ECD-A105-F3519F0295C3}" presName="Child4Accent2" presStyleLbl="alignNode1" presStyleIdx="35" presStyleCnt="51"/>
      <dgm:spPr/>
    </dgm:pt>
    <dgm:pt modelId="{F46FE178-8188-47C5-B843-A457D58E0878}" type="pres">
      <dgm:prSet presAssocID="{5126A8E4-0DAE-4ECD-A105-F3519F0295C3}" presName="Child4Accent3" presStyleLbl="alignNode1" presStyleIdx="36" presStyleCnt="51"/>
      <dgm:spPr/>
    </dgm:pt>
    <dgm:pt modelId="{E00FA22F-CB4B-4046-A18E-0AF8E6C6ABFD}" type="pres">
      <dgm:prSet presAssocID="{5126A8E4-0DAE-4ECD-A105-F3519F0295C3}" presName="Child4Accent4" presStyleLbl="alignNode1" presStyleIdx="37" presStyleCnt="51"/>
      <dgm:spPr/>
    </dgm:pt>
    <dgm:pt modelId="{E725D81A-EDC4-4E39-80F8-6414FEF3597B}" type="pres">
      <dgm:prSet presAssocID="{5126A8E4-0DAE-4ECD-A105-F3519F0295C3}" presName="Child4Accent5" presStyleLbl="alignNode1" presStyleIdx="38" presStyleCnt="51"/>
      <dgm:spPr/>
    </dgm:pt>
    <dgm:pt modelId="{067C3105-2446-4BC7-B295-5B2E1226B7FB}" type="pres">
      <dgm:prSet presAssocID="{5126A8E4-0DAE-4ECD-A105-F3519F0295C3}" presName="Child4Accent6" presStyleLbl="alignNode1" presStyleIdx="39" presStyleCnt="51"/>
      <dgm:spPr/>
    </dgm:pt>
    <dgm:pt modelId="{77910377-88B1-4F49-B884-09E78126317C}" type="pres">
      <dgm:prSet presAssocID="{5126A8E4-0DAE-4ECD-A105-F3519F0295C3}" presName="Child4Accent7" presStyleLbl="alignNode1" presStyleIdx="40" presStyleCnt="51"/>
      <dgm:spPr/>
    </dgm:pt>
    <dgm:pt modelId="{D601C3A6-BF6E-40EE-9E99-A7AAF6AB66C6}" type="pres">
      <dgm:prSet presAssocID="{5126A8E4-0DAE-4ECD-A105-F3519F0295C3}" presName="Child4Accent8" presStyleLbl="alignNode1" presStyleIdx="41" presStyleCnt="51"/>
      <dgm:spPr/>
    </dgm:pt>
    <dgm:pt modelId="{73A48644-AD2D-4CC9-A26E-35D48DAE3AC6}" type="pres">
      <dgm:prSet presAssocID="{5126A8E4-0DAE-4ECD-A105-F3519F0295C3}" presName="Child4" presStyleLbl="revTx" presStyleIdx="3" presStyleCnt="5" custScaleX="188083" custLinFactNeighborX="-42954" custLinFactNeighborY="-7983">
        <dgm:presLayoutVars>
          <dgm:chMax/>
          <dgm:chPref val="0"/>
          <dgm:bulletEnabled val="1"/>
        </dgm:presLayoutVars>
      </dgm:prSet>
      <dgm:spPr/>
    </dgm:pt>
    <dgm:pt modelId="{0319D137-AC90-4D79-9B28-EF7FA3847156}" type="pres">
      <dgm:prSet presAssocID="{D2DA397C-DE4C-4458-A921-DE574A032E3D}" presName="Child5Accent1" presStyleLbl="alignNode1" presStyleIdx="42" presStyleCnt="51"/>
      <dgm:spPr/>
    </dgm:pt>
    <dgm:pt modelId="{99932FB0-F803-4867-B445-110E91305226}" type="pres">
      <dgm:prSet presAssocID="{D2DA397C-DE4C-4458-A921-DE574A032E3D}" presName="Child5Accent2" presStyleLbl="alignNode1" presStyleIdx="43" presStyleCnt="51"/>
      <dgm:spPr/>
    </dgm:pt>
    <dgm:pt modelId="{FAB88D6E-EB24-457B-973C-2EFBC305F3A2}" type="pres">
      <dgm:prSet presAssocID="{D2DA397C-DE4C-4458-A921-DE574A032E3D}" presName="Child5Accent3" presStyleLbl="alignNode1" presStyleIdx="44" presStyleCnt="51"/>
      <dgm:spPr/>
    </dgm:pt>
    <dgm:pt modelId="{BC9EF8B8-2620-483F-BE7D-3C8C96AFE41C}" type="pres">
      <dgm:prSet presAssocID="{D2DA397C-DE4C-4458-A921-DE574A032E3D}" presName="Child5Accent4" presStyleLbl="alignNode1" presStyleIdx="45" presStyleCnt="51"/>
      <dgm:spPr/>
    </dgm:pt>
    <dgm:pt modelId="{47F73440-917B-4627-B63C-7EF4CBA222AD}" type="pres">
      <dgm:prSet presAssocID="{D2DA397C-DE4C-4458-A921-DE574A032E3D}" presName="Child5Accent5" presStyleLbl="alignNode1" presStyleIdx="46" presStyleCnt="51"/>
      <dgm:spPr/>
    </dgm:pt>
    <dgm:pt modelId="{9D6713EE-E3CE-4FCE-9282-74E05A3BF9AC}" type="pres">
      <dgm:prSet presAssocID="{D2DA397C-DE4C-4458-A921-DE574A032E3D}" presName="Child5Accent6" presStyleLbl="alignNode1" presStyleIdx="47" presStyleCnt="51"/>
      <dgm:spPr/>
    </dgm:pt>
    <dgm:pt modelId="{5FFEB1D3-0F3F-4D34-9F8A-21C631A09558}" type="pres">
      <dgm:prSet presAssocID="{D2DA397C-DE4C-4458-A921-DE574A032E3D}" presName="Child5Accent7" presStyleLbl="alignNode1" presStyleIdx="48" presStyleCnt="51"/>
      <dgm:spPr/>
    </dgm:pt>
    <dgm:pt modelId="{508B8783-B196-40FB-8B4A-9AC4455AC110}" type="pres">
      <dgm:prSet presAssocID="{D2DA397C-DE4C-4458-A921-DE574A032E3D}" presName="Child5Accent8" presStyleLbl="alignNode1" presStyleIdx="49" presStyleCnt="51"/>
      <dgm:spPr/>
    </dgm:pt>
    <dgm:pt modelId="{31C52D50-9A61-45B3-B82F-2D5C2316D58C}" type="pres">
      <dgm:prSet presAssocID="{D2DA397C-DE4C-4458-A921-DE574A032E3D}" presName="Child5Accent9" presStyleLbl="alignNode1" presStyleIdx="50" presStyleCnt="51"/>
      <dgm:spPr/>
    </dgm:pt>
    <dgm:pt modelId="{4CF187EB-F1D9-4600-BAD8-62B0B725FF58}" type="pres">
      <dgm:prSet presAssocID="{D2DA397C-DE4C-4458-A921-DE574A032E3D}" presName="Child5" presStyleLbl="revTx" presStyleIdx="4" presStyleCnt="5" custScaleX="221484">
        <dgm:presLayoutVars>
          <dgm:chMax/>
          <dgm:chPref val="0"/>
          <dgm:bulletEnabled val="1"/>
        </dgm:presLayoutVars>
      </dgm:prSet>
      <dgm:spPr/>
    </dgm:pt>
  </dgm:ptLst>
  <dgm:cxnLst>
    <dgm:cxn modelId="{9E35B334-B263-4142-AB7D-6F2C2048D3EB}" type="presOf" srcId="{54F765BF-7340-4601-92BD-89DB50923D6A}" destId="{DFE3DF31-C948-4803-9324-D94D715511EE}" srcOrd="0" destOrd="0" presId="urn:microsoft.com/office/officeart/2011/layout/ConvergingText"/>
    <dgm:cxn modelId="{EEB9DB43-0995-4105-89E7-725E366F571E}" srcId="{80A178AD-F26D-4960-917E-DAD0032EA238}" destId="{14C00E50-BB07-45FA-9854-663D965C6D51}" srcOrd="0" destOrd="0" parTransId="{73990A09-07D5-4387-8B01-5D5D62ED371A}" sibTransId="{50D033A8-2131-4EE8-A361-5960F2023B83}"/>
    <dgm:cxn modelId="{15533747-D070-4842-8C9C-62377F2F5A15}" type="presOf" srcId="{D2DA397C-DE4C-4458-A921-DE574A032E3D}" destId="{4CF187EB-F1D9-4600-BAD8-62B0B725FF58}" srcOrd="0" destOrd="0" presId="urn:microsoft.com/office/officeart/2011/layout/ConvergingText"/>
    <dgm:cxn modelId="{A60F834A-2028-43AC-824A-DF371709AF53}" srcId="{14C00E50-BB07-45FA-9854-663D965C6D51}" destId="{8ADF2ADB-F7D8-44D0-80BF-152E29A13C0A}" srcOrd="0" destOrd="0" parTransId="{70D80BE4-2BD3-499D-85A4-BB6A2278B3FB}" sibTransId="{4D485C85-E675-412D-9973-A9D6113FD745}"/>
    <dgm:cxn modelId="{9D48994B-1F85-4087-B1FA-300D390AAF8C}" srcId="{14C00E50-BB07-45FA-9854-663D965C6D51}" destId="{AD980AB9-8FC1-43D4-B025-60F1E2CAF53D}" srcOrd="1" destOrd="0" parTransId="{333661C7-719B-4749-9D66-EC42E0E3CA22}" sibTransId="{D03B3623-3A80-47AC-A94F-6FAA7688C130}"/>
    <dgm:cxn modelId="{ADC3A84B-C4CB-4F69-9375-2CF44797AA17}" type="presOf" srcId="{5126A8E4-0DAE-4ECD-A105-F3519F0295C3}" destId="{73A48644-AD2D-4CC9-A26E-35D48DAE3AC6}" srcOrd="0" destOrd="0" presId="urn:microsoft.com/office/officeart/2011/layout/ConvergingText"/>
    <dgm:cxn modelId="{7DBF148D-7935-4901-8C78-66539B6AF40C}" srcId="{14C00E50-BB07-45FA-9854-663D965C6D51}" destId="{5126A8E4-0DAE-4ECD-A105-F3519F0295C3}" srcOrd="3" destOrd="0" parTransId="{ED46F1F3-1D5F-4265-BBD3-C9586E4C5C1F}" sibTransId="{FCE199F3-C3BD-4441-9F7A-FDB42E2BEF67}"/>
    <dgm:cxn modelId="{8BBF869D-1ECF-4EDD-A8D4-8BBA11844E6A}" type="presOf" srcId="{14C00E50-BB07-45FA-9854-663D965C6D51}" destId="{5C08A5E4-A4E9-4F37-8066-0DFDA24B43BF}" srcOrd="0" destOrd="0" presId="urn:microsoft.com/office/officeart/2011/layout/ConvergingText"/>
    <dgm:cxn modelId="{15A5F5AB-D0AB-4975-A64E-D3FFEE84A064}" srcId="{14C00E50-BB07-45FA-9854-663D965C6D51}" destId="{D2DA397C-DE4C-4458-A921-DE574A032E3D}" srcOrd="4" destOrd="0" parTransId="{69D0254E-914C-4F0B-9E9D-62410A828F1D}" sibTransId="{7CBE1C79-6F0A-4ABD-91FD-C4928C05FED0}"/>
    <dgm:cxn modelId="{51DC11BD-5A9E-4BFF-A780-F0269F242513}" srcId="{14C00E50-BB07-45FA-9854-663D965C6D51}" destId="{54F765BF-7340-4601-92BD-89DB50923D6A}" srcOrd="2" destOrd="0" parTransId="{DA20E8ED-5EA6-4A0A-9CF7-5EAC727D2917}" sibTransId="{28395127-D4FD-4305-8276-5B48FA2BA54A}"/>
    <dgm:cxn modelId="{D8A7DDC4-4E94-466C-8E0E-76E4EEDD58E2}" type="presOf" srcId="{8ADF2ADB-F7D8-44D0-80BF-152E29A13C0A}" destId="{A25ABEF3-BCB6-4E64-99B0-ABD259CA670C}" srcOrd="0" destOrd="0" presId="urn:microsoft.com/office/officeart/2011/layout/ConvergingText"/>
    <dgm:cxn modelId="{31D0E4CF-E78A-4C7B-9201-E8BABF99D29D}" type="presOf" srcId="{80A178AD-F26D-4960-917E-DAD0032EA238}" destId="{6026DCA1-4240-4094-B6B0-74CC9D9A5EE7}" srcOrd="0" destOrd="0" presId="urn:microsoft.com/office/officeart/2011/layout/ConvergingText"/>
    <dgm:cxn modelId="{EB61A8D4-9DA3-43B1-86E7-B96573853CCD}" type="presOf" srcId="{AD980AB9-8FC1-43D4-B025-60F1E2CAF53D}" destId="{E9280B79-E138-4036-8250-962466DF38AD}" srcOrd="0" destOrd="0" presId="urn:microsoft.com/office/officeart/2011/layout/ConvergingText"/>
    <dgm:cxn modelId="{6255B870-4C64-4E1E-A173-AE2C06FD9468}" type="presParOf" srcId="{6026DCA1-4240-4094-B6B0-74CC9D9A5EE7}" destId="{4E86EAAC-7074-49F2-BDCF-31AC19181B1A}" srcOrd="0" destOrd="0" presId="urn:microsoft.com/office/officeart/2011/layout/ConvergingText"/>
    <dgm:cxn modelId="{C2E533B4-ABAD-47BC-8D57-7C0A132264D7}" type="presParOf" srcId="{4E86EAAC-7074-49F2-BDCF-31AC19181B1A}" destId="{190E255A-1207-4534-921C-F232EAE104D4}" srcOrd="0" destOrd="0" presId="urn:microsoft.com/office/officeart/2011/layout/ConvergingText"/>
    <dgm:cxn modelId="{18BCF62F-C8F3-4021-9B6C-3AFA72FFBCA2}" type="presParOf" srcId="{4E86EAAC-7074-49F2-BDCF-31AC19181B1A}" destId="{9D6D89C4-6F22-49BC-AC49-58C80CF09FD8}" srcOrd="1" destOrd="0" presId="urn:microsoft.com/office/officeart/2011/layout/ConvergingText"/>
    <dgm:cxn modelId="{BCA88E0D-F6F9-4364-8957-A3CB4B7F3D71}" type="presParOf" srcId="{4E86EAAC-7074-49F2-BDCF-31AC19181B1A}" destId="{8DDF6160-EF79-40B1-AB1E-F33D51928D03}" srcOrd="2" destOrd="0" presId="urn:microsoft.com/office/officeart/2011/layout/ConvergingText"/>
    <dgm:cxn modelId="{3983AB50-822E-4CD1-B458-446018BF8275}" type="presParOf" srcId="{4E86EAAC-7074-49F2-BDCF-31AC19181B1A}" destId="{C9CBEEE8-5F2F-487E-861A-21ED29679134}" srcOrd="3" destOrd="0" presId="urn:microsoft.com/office/officeart/2011/layout/ConvergingText"/>
    <dgm:cxn modelId="{14D1C4AB-D988-4FB9-BD29-9105681508B8}" type="presParOf" srcId="{4E86EAAC-7074-49F2-BDCF-31AC19181B1A}" destId="{0C5AE6F1-85A1-4054-A7AB-688413CD130C}" srcOrd="4" destOrd="0" presId="urn:microsoft.com/office/officeart/2011/layout/ConvergingText"/>
    <dgm:cxn modelId="{CA8A78B1-148A-49EB-AAFF-946DE3D97AC9}" type="presParOf" srcId="{4E86EAAC-7074-49F2-BDCF-31AC19181B1A}" destId="{14FB2640-8DA1-45CC-96DF-FC6855594121}" srcOrd="5" destOrd="0" presId="urn:microsoft.com/office/officeart/2011/layout/ConvergingText"/>
    <dgm:cxn modelId="{BA2B2788-F8C6-4187-8CC0-4A86558CF64A}" type="presParOf" srcId="{4E86EAAC-7074-49F2-BDCF-31AC19181B1A}" destId="{94DE37C3-1D8B-4A73-9F20-969D2A3509F0}" srcOrd="6" destOrd="0" presId="urn:microsoft.com/office/officeart/2011/layout/ConvergingText"/>
    <dgm:cxn modelId="{26681989-E5BE-43CF-816B-DEF6E330DD0D}" type="presParOf" srcId="{4E86EAAC-7074-49F2-BDCF-31AC19181B1A}" destId="{593B37BC-9CC4-401E-97EB-729DC15F0DA4}" srcOrd="7" destOrd="0" presId="urn:microsoft.com/office/officeart/2011/layout/ConvergingText"/>
    <dgm:cxn modelId="{F095A083-56A3-4D21-A7F3-A7A459F0C64C}" type="presParOf" srcId="{4E86EAAC-7074-49F2-BDCF-31AC19181B1A}" destId="{7E6917C9-0CF1-43B3-A8B3-6D54CC882512}" srcOrd="8" destOrd="0" presId="urn:microsoft.com/office/officeart/2011/layout/ConvergingText"/>
    <dgm:cxn modelId="{F8E29FC5-906B-41AB-BA1E-F8E1B557DB43}" type="presParOf" srcId="{4E86EAAC-7074-49F2-BDCF-31AC19181B1A}" destId="{E9E221D6-C6C3-404C-B7E6-93D43A343EF7}" srcOrd="9" destOrd="0" presId="urn:microsoft.com/office/officeart/2011/layout/ConvergingText"/>
    <dgm:cxn modelId="{9E53C748-6FBB-4DD4-9903-F3C171278D22}" type="presParOf" srcId="{4E86EAAC-7074-49F2-BDCF-31AC19181B1A}" destId="{5C08A5E4-A4E9-4F37-8066-0DFDA24B43BF}" srcOrd="10" destOrd="0" presId="urn:microsoft.com/office/officeart/2011/layout/ConvergingText"/>
    <dgm:cxn modelId="{2EFC0DDA-4471-4F91-B757-90DF5C27F5D4}" type="presParOf" srcId="{4E86EAAC-7074-49F2-BDCF-31AC19181B1A}" destId="{35457D79-7755-46D0-A6BA-5FA7FD01DB1D}" srcOrd="11" destOrd="0" presId="urn:microsoft.com/office/officeart/2011/layout/ConvergingText"/>
    <dgm:cxn modelId="{30638DF5-26DF-492E-80B7-578A1D3F3D4A}" type="presParOf" srcId="{4E86EAAC-7074-49F2-BDCF-31AC19181B1A}" destId="{BEAC6411-3D80-4949-BE6C-E2794639F9BE}" srcOrd="12" destOrd="0" presId="urn:microsoft.com/office/officeart/2011/layout/ConvergingText"/>
    <dgm:cxn modelId="{3936AC1F-5C73-4995-B528-C598A0B9DC95}" type="presParOf" srcId="{4E86EAAC-7074-49F2-BDCF-31AC19181B1A}" destId="{286C09F9-7485-4485-861D-5C10084EAB7F}" srcOrd="13" destOrd="0" presId="urn:microsoft.com/office/officeart/2011/layout/ConvergingText"/>
    <dgm:cxn modelId="{5BC74015-147E-4080-B6B1-06B50DAD8661}" type="presParOf" srcId="{4E86EAAC-7074-49F2-BDCF-31AC19181B1A}" destId="{F37547E8-25A7-4804-A169-DA115367C8AB}" srcOrd="14" destOrd="0" presId="urn:microsoft.com/office/officeart/2011/layout/ConvergingText"/>
    <dgm:cxn modelId="{7FD84EB6-C823-4099-AA9A-796B997D8309}" type="presParOf" srcId="{4E86EAAC-7074-49F2-BDCF-31AC19181B1A}" destId="{5B6F91FA-A1C0-4A98-A8A4-DCF1BEB86C10}" srcOrd="15" destOrd="0" presId="urn:microsoft.com/office/officeart/2011/layout/ConvergingText"/>
    <dgm:cxn modelId="{37B0920E-A43F-4B08-B7DB-8A244D8C3951}" type="presParOf" srcId="{4E86EAAC-7074-49F2-BDCF-31AC19181B1A}" destId="{203912D7-9CF9-4315-B0A0-A5BD6365DCE3}" srcOrd="16" destOrd="0" presId="urn:microsoft.com/office/officeart/2011/layout/ConvergingText"/>
    <dgm:cxn modelId="{5E3EB5DC-1237-4624-9D38-D26C09625EF0}" type="presParOf" srcId="{4E86EAAC-7074-49F2-BDCF-31AC19181B1A}" destId="{D487139D-F2CF-4331-94D8-DB9B6794DF9F}" srcOrd="17" destOrd="0" presId="urn:microsoft.com/office/officeart/2011/layout/ConvergingText"/>
    <dgm:cxn modelId="{86FD07CA-289D-4C92-AD92-5BB43C908A2A}" type="presParOf" srcId="{4E86EAAC-7074-49F2-BDCF-31AC19181B1A}" destId="{E3431CD3-4316-44FB-842E-13F17C1B7C5D}" srcOrd="18" destOrd="0" presId="urn:microsoft.com/office/officeart/2011/layout/ConvergingText"/>
    <dgm:cxn modelId="{D69BBA65-81A5-43DB-9936-5103E4532BC9}" type="presParOf" srcId="{4E86EAAC-7074-49F2-BDCF-31AC19181B1A}" destId="{EBE765D5-C1F5-400A-93FB-9DF72F5DB8E3}" srcOrd="19" destOrd="0" presId="urn:microsoft.com/office/officeart/2011/layout/ConvergingText"/>
    <dgm:cxn modelId="{7F19EBA9-30DC-40FB-8769-96D87D778D61}" type="presParOf" srcId="{4E86EAAC-7074-49F2-BDCF-31AC19181B1A}" destId="{A25ABEF3-BCB6-4E64-99B0-ABD259CA670C}" srcOrd="20" destOrd="0" presId="urn:microsoft.com/office/officeart/2011/layout/ConvergingText"/>
    <dgm:cxn modelId="{10064AD0-ADAE-4C38-A536-C0F837F59F06}" type="presParOf" srcId="{4E86EAAC-7074-49F2-BDCF-31AC19181B1A}" destId="{758EEDC7-E72B-402E-89DB-3F7582304726}" srcOrd="21" destOrd="0" presId="urn:microsoft.com/office/officeart/2011/layout/ConvergingText"/>
    <dgm:cxn modelId="{F311CCF0-870F-4E25-A2D1-6984C83DF87D}" type="presParOf" srcId="{4E86EAAC-7074-49F2-BDCF-31AC19181B1A}" destId="{C9563727-C422-4773-B3C8-28019C55F062}" srcOrd="22" destOrd="0" presId="urn:microsoft.com/office/officeart/2011/layout/ConvergingText"/>
    <dgm:cxn modelId="{DC081B18-2CF9-46BA-8889-098AEA08C6AB}" type="presParOf" srcId="{4E86EAAC-7074-49F2-BDCF-31AC19181B1A}" destId="{53392262-5AF8-4E5F-97D6-D5E0DDC0AAB6}" srcOrd="23" destOrd="0" presId="urn:microsoft.com/office/officeart/2011/layout/ConvergingText"/>
    <dgm:cxn modelId="{1AD11B83-1126-41D2-82DE-C3B83C232D5B}" type="presParOf" srcId="{4E86EAAC-7074-49F2-BDCF-31AC19181B1A}" destId="{5734984D-2634-4EF6-9543-6FCFB95B18CA}" srcOrd="24" destOrd="0" presId="urn:microsoft.com/office/officeart/2011/layout/ConvergingText"/>
    <dgm:cxn modelId="{97631496-5A8D-48AA-9014-D521C65EAFD5}" type="presParOf" srcId="{4E86EAAC-7074-49F2-BDCF-31AC19181B1A}" destId="{67CCA256-155A-4E3E-9FD7-B517E9143A1B}" srcOrd="25" destOrd="0" presId="urn:microsoft.com/office/officeart/2011/layout/ConvergingText"/>
    <dgm:cxn modelId="{628913D5-9C3C-46CB-AA76-826C3C1B4C2B}" type="presParOf" srcId="{4E86EAAC-7074-49F2-BDCF-31AC19181B1A}" destId="{EABDA6A7-AEEA-4EAF-8C16-BAA998F995C9}" srcOrd="26" destOrd="0" presId="urn:microsoft.com/office/officeart/2011/layout/ConvergingText"/>
    <dgm:cxn modelId="{C8C45808-A3AB-491C-A526-570B4513D7AB}" type="presParOf" srcId="{4E86EAAC-7074-49F2-BDCF-31AC19181B1A}" destId="{F2CA9FC1-30D3-4753-A49A-3D87714ED8DB}" srcOrd="27" destOrd="0" presId="urn:microsoft.com/office/officeart/2011/layout/ConvergingText"/>
    <dgm:cxn modelId="{81012F6A-E0BE-48C3-AD05-FFE572E46679}" type="presParOf" srcId="{4E86EAAC-7074-49F2-BDCF-31AC19181B1A}" destId="{E9280B79-E138-4036-8250-962466DF38AD}" srcOrd="28" destOrd="0" presId="urn:microsoft.com/office/officeart/2011/layout/ConvergingText"/>
    <dgm:cxn modelId="{1988C01D-DB44-4B4C-8680-487BD32D2BFC}" type="presParOf" srcId="{4E86EAAC-7074-49F2-BDCF-31AC19181B1A}" destId="{003C8533-1759-408B-9875-5E4B25E77EBA}" srcOrd="29" destOrd="0" presId="urn:microsoft.com/office/officeart/2011/layout/ConvergingText"/>
    <dgm:cxn modelId="{3AEDD70B-5CDE-45C3-A433-0DB2BB8E0869}" type="presParOf" srcId="{4E86EAAC-7074-49F2-BDCF-31AC19181B1A}" destId="{C2B5D1D9-8AE0-4E89-BCAC-99AEE8348A3E}" srcOrd="30" destOrd="0" presId="urn:microsoft.com/office/officeart/2011/layout/ConvergingText"/>
    <dgm:cxn modelId="{22D96058-DB5D-41AC-B6F8-ADCD3A4CB7BF}" type="presParOf" srcId="{4E86EAAC-7074-49F2-BDCF-31AC19181B1A}" destId="{C7C15B43-1ABD-4CF0-9981-DC2496291228}" srcOrd="31" destOrd="0" presId="urn:microsoft.com/office/officeart/2011/layout/ConvergingText"/>
    <dgm:cxn modelId="{FD066E05-FEAC-4991-A186-7E62C58C52A6}" type="presParOf" srcId="{4E86EAAC-7074-49F2-BDCF-31AC19181B1A}" destId="{DC4D4DE6-0E25-474D-BEFE-62147798585D}" srcOrd="32" destOrd="0" presId="urn:microsoft.com/office/officeart/2011/layout/ConvergingText"/>
    <dgm:cxn modelId="{24B0FC94-E3B0-4E73-8FF0-3C63E55E86E6}" type="presParOf" srcId="{4E86EAAC-7074-49F2-BDCF-31AC19181B1A}" destId="{5D2E1F5C-7C6D-4F9E-9C74-748EDA3A9C65}" srcOrd="33" destOrd="0" presId="urn:microsoft.com/office/officeart/2011/layout/ConvergingText"/>
    <dgm:cxn modelId="{DFC0C17C-32DD-43CF-92E1-2B233ED03F80}" type="presParOf" srcId="{4E86EAAC-7074-49F2-BDCF-31AC19181B1A}" destId="{7F0BE110-6CB2-46A5-833F-F860460C990A}" srcOrd="34" destOrd="0" presId="urn:microsoft.com/office/officeart/2011/layout/ConvergingText"/>
    <dgm:cxn modelId="{E9589D40-0F8F-42FF-AA51-183E151C09D9}" type="presParOf" srcId="{4E86EAAC-7074-49F2-BDCF-31AC19181B1A}" destId="{D1C315FE-C48B-4BAF-9B60-FBA3B58AD98E}" srcOrd="35" destOrd="0" presId="urn:microsoft.com/office/officeart/2011/layout/ConvergingText"/>
    <dgm:cxn modelId="{67AE8A31-D403-48D8-A626-A5F18DE23DDE}" type="presParOf" srcId="{4E86EAAC-7074-49F2-BDCF-31AC19181B1A}" destId="{DFE3DF31-C948-4803-9324-D94D715511EE}" srcOrd="36" destOrd="0" presId="urn:microsoft.com/office/officeart/2011/layout/ConvergingText"/>
    <dgm:cxn modelId="{AF9C6B3F-9AB3-451B-98EF-87169F082491}" type="presParOf" srcId="{4E86EAAC-7074-49F2-BDCF-31AC19181B1A}" destId="{3CCDFB92-CA55-4A74-BC0A-BD9990101AE8}" srcOrd="37" destOrd="0" presId="urn:microsoft.com/office/officeart/2011/layout/ConvergingText"/>
    <dgm:cxn modelId="{E01DE86D-13E2-4A28-966E-567F8A34B497}" type="presParOf" srcId="{4E86EAAC-7074-49F2-BDCF-31AC19181B1A}" destId="{2DF1A742-936D-48CF-BE34-3E94F92C95FF}" srcOrd="38" destOrd="0" presId="urn:microsoft.com/office/officeart/2011/layout/ConvergingText"/>
    <dgm:cxn modelId="{F047522A-AD9C-424A-89AF-FFBADD5145B0}" type="presParOf" srcId="{4E86EAAC-7074-49F2-BDCF-31AC19181B1A}" destId="{F46FE178-8188-47C5-B843-A457D58E0878}" srcOrd="39" destOrd="0" presId="urn:microsoft.com/office/officeart/2011/layout/ConvergingText"/>
    <dgm:cxn modelId="{D368367B-778C-45A1-BBD5-6AC76C69D975}" type="presParOf" srcId="{4E86EAAC-7074-49F2-BDCF-31AC19181B1A}" destId="{E00FA22F-CB4B-4046-A18E-0AF8E6C6ABFD}" srcOrd="40" destOrd="0" presId="urn:microsoft.com/office/officeart/2011/layout/ConvergingText"/>
    <dgm:cxn modelId="{4DF686FC-2F7B-45BE-983C-16353E63E45D}" type="presParOf" srcId="{4E86EAAC-7074-49F2-BDCF-31AC19181B1A}" destId="{E725D81A-EDC4-4E39-80F8-6414FEF3597B}" srcOrd="41" destOrd="0" presId="urn:microsoft.com/office/officeart/2011/layout/ConvergingText"/>
    <dgm:cxn modelId="{F72B1F7E-50F7-4000-BBA1-57754DDBDA3A}" type="presParOf" srcId="{4E86EAAC-7074-49F2-BDCF-31AC19181B1A}" destId="{067C3105-2446-4BC7-B295-5B2E1226B7FB}" srcOrd="42" destOrd="0" presId="urn:microsoft.com/office/officeart/2011/layout/ConvergingText"/>
    <dgm:cxn modelId="{5B21BB34-4EF3-45D3-9D24-DB3CC7499C91}" type="presParOf" srcId="{4E86EAAC-7074-49F2-BDCF-31AC19181B1A}" destId="{77910377-88B1-4F49-B884-09E78126317C}" srcOrd="43" destOrd="0" presId="urn:microsoft.com/office/officeart/2011/layout/ConvergingText"/>
    <dgm:cxn modelId="{D9AE58EA-001A-4990-A54F-6194CF6476E3}" type="presParOf" srcId="{4E86EAAC-7074-49F2-BDCF-31AC19181B1A}" destId="{D601C3A6-BF6E-40EE-9E99-A7AAF6AB66C6}" srcOrd="44" destOrd="0" presId="urn:microsoft.com/office/officeart/2011/layout/ConvergingText"/>
    <dgm:cxn modelId="{ADE7B928-E77B-4823-A5A7-95FD4594FFA1}" type="presParOf" srcId="{4E86EAAC-7074-49F2-BDCF-31AC19181B1A}" destId="{73A48644-AD2D-4CC9-A26E-35D48DAE3AC6}" srcOrd="45" destOrd="0" presId="urn:microsoft.com/office/officeart/2011/layout/ConvergingText"/>
    <dgm:cxn modelId="{CA075E3D-1321-474C-B86D-D2C1F67097AE}" type="presParOf" srcId="{4E86EAAC-7074-49F2-BDCF-31AC19181B1A}" destId="{0319D137-AC90-4D79-9B28-EF7FA3847156}" srcOrd="46" destOrd="0" presId="urn:microsoft.com/office/officeart/2011/layout/ConvergingText"/>
    <dgm:cxn modelId="{CA74E76C-E3A8-44FB-AE52-8D92D42658CB}" type="presParOf" srcId="{4E86EAAC-7074-49F2-BDCF-31AC19181B1A}" destId="{99932FB0-F803-4867-B445-110E91305226}" srcOrd="47" destOrd="0" presId="urn:microsoft.com/office/officeart/2011/layout/ConvergingText"/>
    <dgm:cxn modelId="{915C4890-B143-4983-A424-8EFE2883C0EA}" type="presParOf" srcId="{4E86EAAC-7074-49F2-BDCF-31AC19181B1A}" destId="{FAB88D6E-EB24-457B-973C-2EFBC305F3A2}" srcOrd="48" destOrd="0" presId="urn:microsoft.com/office/officeart/2011/layout/ConvergingText"/>
    <dgm:cxn modelId="{7E546674-5C1A-446A-96F4-F6B15472B7B1}" type="presParOf" srcId="{4E86EAAC-7074-49F2-BDCF-31AC19181B1A}" destId="{BC9EF8B8-2620-483F-BE7D-3C8C96AFE41C}" srcOrd="49" destOrd="0" presId="urn:microsoft.com/office/officeart/2011/layout/ConvergingText"/>
    <dgm:cxn modelId="{C02CE5A1-877D-4202-B291-1200A9A980F6}" type="presParOf" srcId="{4E86EAAC-7074-49F2-BDCF-31AC19181B1A}" destId="{47F73440-917B-4627-B63C-7EF4CBA222AD}" srcOrd="50" destOrd="0" presId="urn:microsoft.com/office/officeart/2011/layout/ConvergingText"/>
    <dgm:cxn modelId="{D9F0863A-BDDF-435E-8012-6D0986AB4173}" type="presParOf" srcId="{4E86EAAC-7074-49F2-BDCF-31AC19181B1A}" destId="{9D6713EE-E3CE-4FCE-9282-74E05A3BF9AC}" srcOrd="51" destOrd="0" presId="urn:microsoft.com/office/officeart/2011/layout/ConvergingText"/>
    <dgm:cxn modelId="{74CF2E39-33B4-4DAA-9546-CA61D0AEC4F2}" type="presParOf" srcId="{4E86EAAC-7074-49F2-BDCF-31AC19181B1A}" destId="{5FFEB1D3-0F3F-4D34-9F8A-21C631A09558}" srcOrd="52" destOrd="0" presId="urn:microsoft.com/office/officeart/2011/layout/ConvergingText"/>
    <dgm:cxn modelId="{43B93FA2-D63F-4D50-98A1-C853FD2FF6EA}" type="presParOf" srcId="{4E86EAAC-7074-49F2-BDCF-31AC19181B1A}" destId="{508B8783-B196-40FB-8B4A-9AC4455AC110}" srcOrd="53" destOrd="0" presId="urn:microsoft.com/office/officeart/2011/layout/ConvergingText"/>
    <dgm:cxn modelId="{DE5FE7E8-03FA-4C4E-B3B9-040460B93DF6}" type="presParOf" srcId="{4E86EAAC-7074-49F2-BDCF-31AC19181B1A}" destId="{31C52D50-9A61-45B3-B82F-2D5C2316D58C}" srcOrd="54" destOrd="0" presId="urn:microsoft.com/office/officeart/2011/layout/ConvergingText"/>
    <dgm:cxn modelId="{8F4929BA-F7FB-4495-9FB4-0EECB3CBAB81}" type="presParOf" srcId="{4E86EAAC-7074-49F2-BDCF-31AC19181B1A}" destId="{4CF187EB-F1D9-4600-BAD8-62B0B725FF58}" srcOrd="55" destOrd="0" presId="urn:microsoft.com/office/officeart/2011/layout/ConvergingTex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0E255A-1207-4534-921C-F232EAE104D4}">
      <dsp:nvSpPr>
        <dsp:cNvPr id="0" name=""/>
        <dsp:cNvSpPr/>
      </dsp:nvSpPr>
      <dsp:spPr>
        <a:xfrm>
          <a:off x="9089038" y="2383763"/>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D6D89C4-6F22-49BC-AC49-58C80CF09FD8}">
      <dsp:nvSpPr>
        <dsp:cNvPr id="0" name=""/>
        <dsp:cNvSpPr/>
      </dsp:nvSpPr>
      <dsp:spPr>
        <a:xfrm>
          <a:off x="8772334" y="2383763"/>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DDF6160-EF79-40B1-AB1E-F33D51928D03}">
      <dsp:nvSpPr>
        <dsp:cNvPr id="0" name=""/>
        <dsp:cNvSpPr/>
      </dsp:nvSpPr>
      <dsp:spPr>
        <a:xfrm>
          <a:off x="8455631" y="2383763"/>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9CBEEE8-5F2F-487E-861A-21ED29679134}">
      <dsp:nvSpPr>
        <dsp:cNvPr id="0" name=""/>
        <dsp:cNvSpPr/>
      </dsp:nvSpPr>
      <dsp:spPr>
        <a:xfrm>
          <a:off x="8139529" y="2383763"/>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C5AE6F1-85A1-4054-A7AB-688413CD130C}">
      <dsp:nvSpPr>
        <dsp:cNvPr id="0" name=""/>
        <dsp:cNvSpPr/>
      </dsp:nvSpPr>
      <dsp:spPr>
        <a:xfrm>
          <a:off x="7822826" y="2383763"/>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4FB2640-8DA1-45CC-96DF-FC6855594121}">
      <dsp:nvSpPr>
        <dsp:cNvPr id="0" name=""/>
        <dsp:cNvSpPr/>
      </dsp:nvSpPr>
      <dsp:spPr>
        <a:xfrm>
          <a:off x="7333320" y="2297153"/>
          <a:ext cx="345604" cy="34598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4DE37C3-1D8B-4A73-9F20-969D2A3509F0}">
      <dsp:nvSpPr>
        <dsp:cNvPr id="0" name=""/>
        <dsp:cNvSpPr/>
      </dsp:nvSpPr>
      <dsp:spPr>
        <a:xfrm>
          <a:off x="8807256" y="2026440"/>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93B37BC-9CC4-401E-97EB-729DC15F0DA4}">
      <dsp:nvSpPr>
        <dsp:cNvPr id="0" name=""/>
        <dsp:cNvSpPr/>
      </dsp:nvSpPr>
      <dsp:spPr>
        <a:xfrm>
          <a:off x="8807256" y="2743353"/>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E6917C9-0CF1-43B3-A8B3-6D54CC882512}">
      <dsp:nvSpPr>
        <dsp:cNvPr id="0" name=""/>
        <dsp:cNvSpPr/>
      </dsp:nvSpPr>
      <dsp:spPr>
        <a:xfrm>
          <a:off x="8961393" y="2181976"/>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9E221D6-C6C3-404C-B7E6-93D43A343EF7}">
      <dsp:nvSpPr>
        <dsp:cNvPr id="0" name=""/>
        <dsp:cNvSpPr/>
      </dsp:nvSpPr>
      <dsp:spPr>
        <a:xfrm>
          <a:off x="8971629" y="2589179"/>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C08A5E4-A4E9-4F37-8066-0DFDA24B43BF}">
      <dsp:nvSpPr>
        <dsp:cNvPr id="0" name=""/>
        <dsp:cNvSpPr/>
      </dsp:nvSpPr>
      <dsp:spPr>
        <a:xfrm>
          <a:off x="5440324" y="1595204"/>
          <a:ext cx="1749696" cy="1749884"/>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IN" sz="1500" kern="1200" dirty="0"/>
            <a:t>Supplier Accreditation -Carbon foot print</a:t>
          </a:r>
        </a:p>
        <a:p>
          <a:pPr marL="0" lvl="0" indent="0" algn="ctr" defTabSz="666750">
            <a:lnSpc>
              <a:spcPct val="90000"/>
            </a:lnSpc>
            <a:spcBef>
              <a:spcPct val="0"/>
            </a:spcBef>
            <a:spcAft>
              <a:spcPct val="35000"/>
            </a:spcAft>
            <a:buNone/>
          </a:pPr>
          <a:r>
            <a:rPr lang="en-IN" sz="1500" kern="1200" dirty="0"/>
            <a:t>-ESG score</a:t>
          </a:r>
        </a:p>
      </dsp:txBody>
      <dsp:txXfrm>
        <a:off x="5696561" y="1851469"/>
        <a:ext cx="1237222" cy="1237354"/>
      </dsp:txXfrm>
    </dsp:sp>
    <dsp:sp modelId="{35457D79-7755-46D0-A6BA-5FA7FD01DB1D}">
      <dsp:nvSpPr>
        <dsp:cNvPr id="0" name=""/>
        <dsp:cNvSpPr/>
      </dsp:nvSpPr>
      <dsp:spPr>
        <a:xfrm>
          <a:off x="6142370" y="1116356"/>
          <a:ext cx="345604" cy="34598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EAC6411-3D80-4949-BE6C-E2794639F9BE}">
      <dsp:nvSpPr>
        <dsp:cNvPr id="0" name=""/>
        <dsp:cNvSpPr/>
      </dsp:nvSpPr>
      <dsp:spPr>
        <a:xfrm>
          <a:off x="5925013" y="910940"/>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86C09F9-7485-4485-861D-5C10084EAB7F}">
      <dsp:nvSpPr>
        <dsp:cNvPr id="0" name=""/>
        <dsp:cNvSpPr/>
      </dsp:nvSpPr>
      <dsp:spPr>
        <a:xfrm>
          <a:off x="5681765" y="657459"/>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37547E8-25A7-4804-A169-DA115367C8AB}">
      <dsp:nvSpPr>
        <dsp:cNvPr id="0" name=""/>
        <dsp:cNvSpPr/>
      </dsp:nvSpPr>
      <dsp:spPr>
        <a:xfrm>
          <a:off x="5440324" y="442067"/>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B6F91FA-A1C0-4A98-A8A4-DCF1BEB86C10}">
      <dsp:nvSpPr>
        <dsp:cNvPr id="0" name=""/>
        <dsp:cNvSpPr/>
      </dsp:nvSpPr>
      <dsp:spPr>
        <a:xfrm>
          <a:off x="5071238" y="442067"/>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03912D7-9CF9-4315-B0A0-A5BD6365DCE3}">
      <dsp:nvSpPr>
        <dsp:cNvPr id="0" name=""/>
        <dsp:cNvSpPr/>
      </dsp:nvSpPr>
      <dsp:spPr>
        <a:xfrm>
          <a:off x="4701550" y="442067"/>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487139D-F2CF-4331-94D8-DB9B6794DF9F}">
      <dsp:nvSpPr>
        <dsp:cNvPr id="0" name=""/>
        <dsp:cNvSpPr/>
      </dsp:nvSpPr>
      <dsp:spPr>
        <a:xfrm>
          <a:off x="4332464" y="442067"/>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3431CD3-4316-44FB-842E-13F17C1B7C5D}">
      <dsp:nvSpPr>
        <dsp:cNvPr id="0" name=""/>
        <dsp:cNvSpPr/>
      </dsp:nvSpPr>
      <dsp:spPr>
        <a:xfrm>
          <a:off x="3963378" y="442067"/>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BE765D5-C1F5-400A-93FB-9DF72F5DB8E3}">
      <dsp:nvSpPr>
        <dsp:cNvPr id="0" name=""/>
        <dsp:cNvSpPr/>
      </dsp:nvSpPr>
      <dsp:spPr>
        <a:xfrm>
          <a:off x="3594292" y="442067"/>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25ABEF3-BCB6-4E64-99B0-ABD259CA670C}">
      <dsp:nvSpPr>
        <dsp:cNvPr id="0" name=""/>
        <dsp:cNvSpPr/>
      </dsp:nvSpPr>
      <dsp:spPr>
        <a:xfrm>
          <a:off x="2339291" y="11095"/>
          <a:ext cx="3214279" cy="4448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0">
          <a:noAutofit/>
        </a:bodyPr>
        <a:lstStyle/>
        <a:p>
          <a:pPr marL="0" lvl="0" indent="0" algn="l" defTabSz="533400">
            <a:lnSpc>
              <a:spcPct val="90000"/>
            </a:lnSpc>
            <a:spcBef>
              <a:spcPct val="0"/>
            </a:spcBef>
            <a:spcAft>
              <a:spcPct val="35000"/>
            </a:spcAft>
            <a:buNone/>
          </a:pPr>
          <a:r>
            <a:rPr lang="en-IN" sz="1200" kern="1200" dirty="0">
              <a:solidFill>
                <a:schemeClr val="bg1"/>
              </a:solidFill>
            </a:rPr>
            <a:t>Failed Deliveries due to inaccurate addresses</a:t>
          </a:r>
        </a:p>
      </dsp:txBody>
      <dsp:txXfrm>
        <a:off x="2339291" y="11095"/>
        <a:ext cx="3214279" cy="444839"/>
      </dsp:txXfrm>
    </dsp:sp>
    <dsp:sp modelId="{758EEDC7-E72B-402E-89DB-3F7582304726}">
      <dsp:nvSpPr>
        <dsp:cNvPr id="0" name=""/>
        <dsp:cNvSpPr/>
      </dsp:nvSpPr>
      <dsp:spPr>
        <a:xfrm>
          <a:off x="5309669" y="1446018"/>
          <a:ext cx="345604" cy="34598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9563727-C422-4773-B3C8-28019C55F062}">
      <dsp:nvSpPr>
        <dsp:cNvPr id="0" name=""/>
        <dsp:cNvSpPr/>
      </dsp:nvSpPr>
      <dsp:spPr>
        <a:xfrm>
          <a:off x="5088097" y="1263275"/>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3392262-5AF8-4E5F-97D6-D5E0DDC0AAB6}">
      <dsp:nvSpPr>
        <dsp:cNvPr id="0" name=""/>
        <dsp:cNvSpPr/>
      </dsp:nvSpPr>
      <dsp:spPr>
        <a:xfrm>
          <a:off x="4719011" y="1263275"/>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734984D-2634-4EF6-9543-6FCFB95B18CA}">
      <dsp:nvSpPr>
        <dsp:cNvPr id="0" name=""/>
        <dsp:cNvSpPr/>
      </dsp:nvSpPr>
      <dsp:spPr>
        <a:xfrm>
          <a:off x="4349925" y="1263275"/>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7CCA256-155A-4E3E-9FD7-B517E9143A1B}">
      <dsp:nvSpPr>
        <dsp:cNvPr id="0" name=""/>
        <dsp:cNvSpPr/>
      </dsp:nvSpPr>
      <dsp:spPr>
        <a:xfrm>
          <a:off x="3980839" y="1263275"/>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BDA6A7-AEEA-4EAF-8C16-BAA998F995C9}">
      <dsp:nvSpPr>
        <dsp:cNvPr id="0" name=""/>
        <dsp:cNvSpPr/>
      </dsp:nvSpPr>
      <dsp:spPr>
        <a:xfrm>
          <a:off x="3611150" y="1263275"/>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2CA9FC1-30D3-4753-A49A-3D87714ED8DB}">
      <dsp:nvSpPr>
        <dsp:cNvPr id="0" name=""/>
        <dsp:cNvSpPr/>
      </dsp:nvSpPr>
      <dsp:spPr>
        <a:xfrm>
          <a:off x="3242064" y="1263275"/>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9280B79-E138-4036-8250-962466DF38AD}">
      <dsp:nvSpPr>
        <dsp:cNvPr id="0" name=""/>
        <dsp:cNvSpPr/>
      </dsp:nvSpPr>
      <dsp:spPr>
        <a:xfrm>
          <a:off x="2389054" y="817529"/>
          <a:ext cx="3214279" cy="4448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0">
          <a:noAutofit/>
        </a:bodyPr>
        <a:lstStyle/>
        <a:p>
          <a:pPr marL="0" lvl="0" indent="0" algn="l" defTabSz="533400">
            <a:lnSpc>
              <a:spcPct val="90000"/>
            </a:lnSpc>
            <a:spcBef>
              <a:spcPct val="0"/>
            </a:spcBef>
            <a:spcAft>
              <a:spcPct val="35000"/>
            </a:spcAft>
            <a:buNone/>
          </a:pPr>
          <a:r>
            <a:rPr lang="en-IN" sz="1200" kern="1200" dirty="0">
              <a:solidFill>
                <a:schemeClr val="bg1"/>
              </a:solidFill>
            </a:rPr>
            <a:t>Carbon emissions with each delivery</a:t>
          </a:r>
        </a:p>
      </dsp:txBody>
      <dsp:txXfrm>
        <a:off x="2389054" y="817529"/>
        <a:ext cx="3214279" cy="444839"/>
      </dsp:txXfrm>
    </dsp:sp>
    <dsp:sp modelId="{003C8533-1759-408B-9875-5E4B25E77EBA}">
      <dsp:nvSpPr>
        <dsp:cNvPr id="0" name=""/>
        <dsp:cNvSpPr/>
      </dsp:nvSpPr>
      <dsp:spPr>
        <a:xfrm>
          <a:off x="4950818" y="2297153"/>
          <a:ext cx="345604" cy="34598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2B5D1D9-8AE0-4E89-BCAC-99AEE8348A3E}">
      <dsp:nvSpPr>
        <dsp:cNvPr id="0" name=""/>
        <dsp:cNvSpPr/>
      </dsp:nvSpPr>
      <dsp:spPr>
        <a:xfrm>
          <a:off x="4608827" y="2383763"/>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7C15B43-1ABD-4CF0-9981-DC2496291228}">
      <dsp:nvSpPr>
        <dsp:cNvPr id="0" name=""/>
        <dsp:cNvSpPr/>
      </dsp:nvSpPr>
      <dsp:spPr>
        <a:xfrm>
          <a:off x="4267437" y="2383763"/>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C4D4DE6-0E25-474D-BEFE-62147798585D}">
      <dsp:nvSpPr>
        <dsp:cNvPr id="0" name=""/>
        <dsp:cNvSpPr/>
      </dsp:nvSpPr>
      <dsp:spPr>
        <a:xfrm>
          <a:off x="3925446" y="2383763"/>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D2E1F5C-7C6D-4F9E-9C74-748EDA3A9C65}">
      <dsp:nvSpPr>
        <dsp:cNvPr id="0" name=""/>
        <dsp:cNvSpPr/>
      </dsp:nvSpPr>
      <dsp:spPr>
        <a:xfrm>
          <a:off x="3584056" y="2383763"/>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F0BE110-6CB2-46A5-833F-F860460C990A}">
      <dsp:nvSpPr>
        <dsp:cNvPr id="0" name=""/>
        <dsp:cNvSpPr/>
      </dsp:nvSpPr>
      <dsp:spPr>
        <a:xfrm>
          <a:off x="3242064" y="2383763"/>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FE3DF31-C948-4803-9324-D94D715511EE}">
      <dsp:nvSpPr>
        <dsp:cNvPr id="0" name=""/>
        <dsp:cNvSpPr/>
      </dsp:nvSpPr>
      <dsp:spPr>
        <a:xfrm>
          <a:off x="1897366" y="1825773"/>
          <a:ext cx="4112147" cy="4448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0">
          <a:noAutofit/>
        </a:bodyPr>
        <a:lstStyle/>
        <a:p>
          <a:pPr marL="0" lvl="0" indent="0" algn="l" defTabSz="533400">
            <a:lnSpc>
              <a:spcPct val="90000"/>
            </a:lnSpc>
            <a:spcBef>
              <a:spcPct val="0"/>
            </a:spcBef>
            <a:spcAft>
              <a:spcPct val="35000"/>
            </a:spcAft>
            <a:buNone/>
          </a:pPr>
          <a:r>
            <a:rPr lang="en-IN" sz="1200" kern="1200" dirty="0">
              <a:solidFill>
                <a:schemeClr val="bg1"/>
              </a:solidFill>
            </a:rPr>
            <a:t>Geo route and their related carbon dioxide emissions</a:t>
          </a:r>
        </a:p>
      </dsp:txBody>
      <dsp:txXfrm>
        <a:off x="1897366" y="1825773"/>
        <a:ext cx="4112147" cy="444839"/>
      </dsp:txXfrm>
    </dsp:sp>
    <dsp:sp modelId="{3CCDFB92-CA55-4A74-BC0A-BD9990101AE8}">
      <dsp:nvSpPr>
        <dsp:cNvPr id="0" name=""/>
        <dsp:cNvSpPr/>
      </dsp:nvSpPr>
      <dsp:spPr>
        <a:xfrm>
          <a:off x="5309669" y="3134685"/>
          <a:ext cx="345604" cy="34598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DF1A742-936D-48CF-BE34-3E94F92C95FF}">
      <dsp:nvSpPr>
        <dsp:cNvPr id="0" name=""/>
        <dsp:cNvSpPr/>
      </dsp:nvSpPr>
      <dsp:spPr>
        <a:xfrm>
          <a:off x="5088097" y="3486567"/>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6FE178-8188-47C5-B843-A457D58E0878}">
      <dsp:nvSpPr>
        <dsp:cNvPr id="0" name=""/>
        <dsp:cNvSpPr/>
      </dsp:nvSpPr>
      <dsp:spPr>
        <a:xfrm>
          <a:off x="4719011" y="3486567"/>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00FA22F-CB4B-4046-A18E-0AF8E6C6ABFD}">
      <dsp:nvSpPr>
        <dsp:cNvPr id="0" name=""/>
        <dsp:cNvSpPr/>
      </dsp:nvSpPr>
      <dsp:spPr>
        <a:xfrm>
          <a:off x="4349925" y="3486567"/>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725D81A-EDC4-4E39-80F8-6414FEF3597B}">
      <dsp:nvSpPr>
        <dsp:cNvPr id="0" name=""/>
        <dsp:cNvSpPr/>
      </dsp:nvSpPr>
      <dsp:spPr>
        <a:xfrm>
          <a:off x="3980839" y="3486567"/>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67C3105-2446-4BC7-B295-5B2E1226B7FB}">
      <dsp:nvSpPr>
        <dsp:cNvPr id="0" name=""/>
        <dsp:cNvSpPr/>
      </dsp:nvSpPr>
      <dsp:spPr>
        <a:xfrm>
          <a:off x="3611150" y="3486567"/>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7910377-88B1-4F49-B884-09E78126317C}">
      <dsp:nvSpPr>
        <dsp:cNvPr id="0" name=""/>
        <dsp:cNvSpPr/>
      </dsp:nvSpPr>
      <dsp:spPr>
        <a:xfrm>
          <a:off x="3242064" y="3486567"/>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3A48644-AD2D-4CC9-A26E-35D48DAE3AC6}">
      <dsp:nvSpPr>
        <dsp:cNvPr id="0" name=""/>
        <dsp:cNvSpPr/>
      </dsp:nvSpPr>
      <dsp:spPr>
        <a:xfrm>
          <a:off x="1478803" y="3005308"/>
          <a:ext cx="3809541" cy="4448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0">
          <a:noAutofit/>
        </a:bodyPr>
        <a:lstStyle/>
        <a:p>
          <a:pPr marL="0" lvl="0" indent="0" algn="l" defTabSz="533400">
            <a:lnSpc>
              <a:spcPct val="90000"/>
            </a:lnSpc>
            <a:spcBef>
              <a:spcPct val="0"/>
            </a:spcBef>
            <a:spcAft>
              <a:spcPct val="35000"/>
            </a:spcAft>
            <a:buNone/>
          </a:pPr>
          <a:r>
            <a:rPr lang="en-IN" sz="1200" kern="1200" dirty="0">
              <a:solidFill>
                <a:schemeClr val="bg1"/>
              </a:solidFill>
            </a:rPr>
            <a:t>Depending on route of delivery, vehicle selection based on emissions levels</a:t>
          </a:r>
        </a:p>
      </dsp:txBody>
      <dsp:txXfrm>
        <a:off x="1478803" y="3005308"/>
        <a:ext cx="3809541" cy="444839"/>
      </dsp:txXfrm>
    </dsp:sp>
    <dsp:sp modelId="{0319D137-AC90-4D79-9B28-EF7FA3847156}">
      <dsp:nvSpPr>
        <dsp:cNvPr id="0" name=""/>
        <dsp:cNvSpPr/>
      </dsp:nvSpPr>
      <dsp:spPr>
        <a:xfrm>
          <a:off x="6142370" y="3448930"/>
          <a:ext cx="345604" cy="34598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9932FB0-F803-4867-B445-110E91305226}">
      <dsp:nvSpPr>
        <dsp:cNvPr id="0" name=""/>
        <dsp:cNvSpPr/>
      </dsp:nvSpPr>
      <dsp:spPr>
        <a:xfrm>
          <a:off x="5968364" y="3799904"/>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AB88D6E-EB24-457B-973C-2EFBC305F3A2}">
      <dsp:nvSpPr>
        <dsp:cNvPr id="0" name=""/>
        <dsp:cNvSpPr/>
      </dsp:nvSpPr>
      <dsp:spPr>
        <a:xfrm>
          <a:off x="5720300" y="4079233"/>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C9EF8B8-2620-483F-BE7D-3C8C96AFE41C}">
      <dsp:nvSpPr>
        <dsp:cNvPr id="0" name=""/>
        <dsp:cNvSpPr/>
      </dsp:nvSpPr>
      <dsp:spPr>
        <a:xfrm>
          <a:off x="5440324" y="4364003"/>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7F73440-917B-4627-B63C-7EF4CBA222AD}">
      <dsp:nvSpPr>
        <dsp:cNvPr id="0" name=""/>
        <dsp:cNvSpPr/>
      </dsp:nvSpPr>
      <dsp:spPr>
        <a:xfrm>
          <a:off x="5071238" y="4364003"/>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D6713EE-E3CE-4FCE-9282-74E05A3BF9AC}">
      <dsp:nvSpPr>
        <dsp:cNvPr id="0" name=""/>
        <dsp:cNvSpPr/>
      </dsp:nvSpPr>
      <dsp:spPr>
        <a:xfrm>
          <a:off x="4701550" y="4364003"/>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FFEB1D3-0F3F-4D34-9F8A-21C631A09558}">
      <dsp:nvSpPr>
        <dsp:cNvPr id="0" name=""/>
        <dsp:cNvSpPr/>
      </dsp:nvSpPr>
      <dsp:spPr>
        <a:xfrm>
          <a:off x="4332464" y="4364003"/>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08B8783-B196-40FB-8B4A-9AC4455AC110}">
      <dsp:nvSpPr>
        <dsp:cNvPr id="0" name=""/>
        <dsp:cNvSpPr/>
      </dsp:nvSpPr>
      <dsp:spPr>
        <a:xfrm>
          <a:off x="3963378" y="4364003"/>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1C52D50-9A61-45B3-B82F-2D5C2316D58C}">
      <dsp:nvSpPr>
        <dsp:cNvPr id="0" name=""/>
        <dsp:cNvSpPr/>
      </dsp:nvSpPr>
      <dsp:spPr>
        <a:xfrm>
          <a:off x="3594292" y="4364003"/>
          <a:ext cx="172802" cy="17276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CF187EB-F1D9-4600-BAD8-62B0B725FF58}">
      <dsp:nvSpPr>
        <dsp:cNvPr id="0" name=""/>
        <dsp:cNvSpPr/>
      </dsp:nvSpPr>
      <dsp:spPr>
        <a:xfrm>
          <a:off x="2360376" y="3917803"/>
          <a:ext cx="4486064" cy="4448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0">
          <a:noAutofit/>
        </a:bodyPr>
        <a:lstStyle/>
        <a:p>
          <a:pPr marL="0" lvl="0" indent="0" algn="l" defTabSz="533400">
            <a:lnSpc>
              <a:spcPct val="90000"/>
            </a:lnSpc>
            <a:spcBef>
              <a:spcPct val="0"/>
            </a:spcBef>
            <a:spcAft>
              <a:spcPct val="35000"/>
            </a:spcAft>
            <a:buNone/>
          </a:pPr>
          <a:r>
            <a:rPr lang="en-IN" sz="1200" kern="1200" dirty="0">
              <a:solidFill>
                <a:schemeClr val="bg1"/>
              </a:solidFill>
            </a:rPr>
            <a:t>Packaging cost per delivery</a:t>
          </a:r>
        </a:p>
      </dsp:txBody>
      <dsp:txXfrm>
        <a:off x="2360376" y="3917803"/>
        <a:ext cx="4486064" cy="444839"/>
      </dsp:txXfrm>
    </dsp:sp>
  </dsp:spTree>
</dsp:drawing>
</file>

<file path=ppt/diagrams/layout1.xml><?xml version="1.0" encoding="utf-8"?>
<dgm:layoutDef xmlns:dgm="http://schemas.openxmlformats.org/drawingml/2006/diagram" xmlns:a="http://schemas.openxmlformats.org/drawingml/2006/main" uniqueId="urn:microsoft.com/office/officeart/2011/layout/ConvergingText">
  <dgm:title val="Converging Text"/>
  <dgm:desc val="Use to show multiple steps or parts that merge into a whole. Limited to one Level 1 shape that contains text and a maximum of five Level 2 shapes."/>
  <dgm:catLst>
    <dgm:cat type="process" pri="6500"/>
    <dgm:cat type="officeonline" pri="5000"/>
  </dgm:catLst>
  <dgm:samp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clrData>
  <dgm:layoutNode name="Name0">
    <dgm:varLst>
      <dgm:chMax/>
      <dgm:chPref val="1"/>
      <dgm:dir/>
      <dgm:animOne val="branch"/>
      <dgm:animLvl val="lvl"/>
      <dgm:resizeHandles/>
    </dgm:varLst>
    <dgm:choose name="Name1">
      <dgm:if name="Name2" func="var" arg="dir" op="equ" val="norm">
        <dgm:alg type="lin">
          <dgm:param type="linDir" val="fromL"/>
          <dgm:param type="vertAlign" val="mid"/>
          <dgm:param type="nodeVertAlign" val="mid"/>
          <dgm:param type="horzAlign" val="ctr"/>
        </dgm:alg>
      </dgm:if>
      <dgm:else name="Name3">
        <dgm:alg type="lin">
          <dgm:param type="linDir" val="fromR"/>
          <dgm:param type="vertAlign" val="mid"/>
          <dgm:param type="nodeVertAlign" val="mid"/>
          <dgm:param type="horzAlign" val="ctr"/>
        </dgm:alg>
      </dgm:else>
    </dgm:choose>
    <dgm:shape xmlns:r="http://schemas.openxmlformats.org/officeDocument/2006/relationships" r:blip="">
      <dgm:adjLst/>
    </dgm:shape>
    <dgm:constrLst>
      <dgm:constr type="primFontSz" for="des" forName="Parent" op="equ" val="65"/>
      <dgm:constr type="primFontSz" for="des" forName="Child1" op="equ" val="65"/>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w" for="ch" forName="composite" refType="w"/>
      <dgm:constr type="h" for="ch" forName="composite" refType="h"/>
      <dgm:constr type="sp" refType="w" refFor="ch" refForName="composite" op="equ" fact="0.05"/>
      <dgm:constr type="w" for="ch" forName="sibTrans" refType="w" refFor="ch" refForName="composite" op="equ" fact="0.05"/>
      <dgm:constr type="h" for="ch" forName="sibTrans" refType="w" refFor="ch" refForName="sibTrans" op="equ"/>
    </dgm:constrLst>
    <dgm:forEach name="nodesForEach" axis="ch" ptType="node">
      <dgm:layoutNode name="composite">
        <dgm:choose name="Name4">
          <dgm:if name="Name5" func="var" arg="dir" op="equ" val="norm">
            <dgm:choose name="Name6">
              <dgm:if name="Name7" axis="ch" ptType="node" func="cnt" op="equ" val="0">
                <dgm:alg type="composite">
                  <dgm:param type="ar" val="2.1059"/>
                </dgm:alg>
                <dgm:constrLst>
                  <dgm:constr type="l" for="ch" forName="Parent" refType="w" fact="0"/>
                  <dgm:constr type="t" for="ch" forName="Parent" refType="h" fact="0"/>
                  <dgm:constr type="w" for="ch" forName="Parent" refType="w" fact="0.4749"/>
                  <dgm:constr type="h" for="ch" forName="Parent" refType="h"/>
                  <dgm:constr type="l" for="ch" forName="ParentAccent1" refType="w" fact="0.9531"/>
                  <dgm:constr type="t" for="ch" forName="ParentAccent1" refType="h" fact="0.4506"/>
                  <dgm:constr type="w" for="ch" forName="ParentAccent1" refType="w" fact="0.0469"/>
                  <dgm:constr type="h" for="ch" forName="ParentAccent1" refType="h" fact="0.0988"/>
                  <dgm:constr type="l" for="ch" forName="ParentAccent2" refType="w" fact="0.8734"/>
                  <dgm:constr type="t" for="ch" forName="ParentAccent2" refType="h" fact="0.4506"/>
                  <dgm:constr type="w" for="ch" forName="ParentAccent2" refType="w" fact="0.0469"/>
                  <dgm:constr type="h" for="ch" forName="ParentAccent2" refType="h" fact="0.0988"/>
                  <dgm:constr type="l" for="ch" forName="ParentAccent3" refType="w" fact="0.7937"/>
                  <dgm:constr type="t" for="ch" forName="ParentAccent3" refType="h" fact="0.4506"/>
                  <dgm:constr type="w" for="ch" forName="ParentAccent3" refType="w" fact="0.0469"/>
                  <dgm:constr type="h" for="ch" forName="ParentAccent3" refType="h" fact="0.0988"/>
                  <dgm:constr type="l" for="ch" forName="ParentAccent4" refType="w" fact="0.714"/>
                  <dgm:constr type="t" for="ch" forName="ParentAccent4" refType="h" fact="0.4506"/>
                  <dgm:constr type="w" for="ch" forName="ParentAccent4" refType="w" fact="0.0469"/>
                  <dgm:constr type="h" for="ch" forName="ParentAccent4" refType="h" fact="0.0988"/>
                  <dgm:constr type="l" for="ch" forName="ParentAccent5" refType="w" fact="0.6343"/>
                  <dgm:constr type="t" for="ch" forName="ParentAccent5" refType="h" fact="0.4506"/>
                  <dgm:constr type="w" for="ch" forName="ParentAccent5" refType="w" fact="0.0469"/>
                  <dgm:constr type="h" for="ch" forName="ParentAccent5" refType="h" fact="0.0988"/>
                  <dgm:constr type="l" for="ch" forName="ParentAccent6" refType="w" fact="0.5076"/>
                  <dgm:constr type="t" for="ch" forName="ParentAccent6" refType="h" fact="0.4012"/>
                  <dgm:constr type="w" for="ch" forName="ParentAccent6" refType="w" fact="0.0939"/>
                  <dgm:constr type="h" for="ch" forName="ParentAccent6" refType="h" fact="0.1976"/>
                  <dgm:constr type="l" for="ch" forName="ParentAccent7" refType="w" fact="0.8766"/>
                  <dgm:constr type="t" for="ch" forName="ParentAccent7" refType="h" fact="0.2465"/>
                  <dgm:constr type="w" for="ch" forName="ParentAccent7" refType="w" fact="0.0469"/>
                  <dgm:constr type="h" for="ch" forName="ParentAccent7" refType="h" fact="0.0988"/>
                  <dgm:constr type="l" for="ch" forName="ParentAccent8" refType="w" fact="0.8766"/>
                  <dgm:constr type="t" for="ch" forName="ParentAccent8" refType="h" fact="0.6562"/>
                  <dgm:constr type="w" for="ch" forName="ParentAccent8" refType="w" fact="0.0469"/>
                  <dgm:constr type="h" for="ch" forName="ParentAccent8" refType="h" fact="0.0988"/>
                  <dgm:constr type="l" for="ch" forName="ParentAccent9" refType="w" fact="0.9185"/>
                  <dgm:constr type="t" for="ch" forName="ParentAccent9" refType="h" fact="0.3353"/>
                  <dgm:constr type="w" for="ch" forName="ParentAccent9" refType="w" fact="0.0469"/>
                  <dgm:constr type="h" for="ch" forName="ParentAccent9" refType="h" fact="0.0988"/>
                  <dgm:constr type="l" for="ch" forName="ParentAccent10" refType="w" fact="0.9213"/>
                  <dgm:constr type="t" for="ch" forName="ParentAccent10" refType="h" fact="0.5679"/>
                  <dgm:constr type="w" for="ch" forName="ParentAccent10" refType="w" fact="0.0469"/>
                  <dgm:constr type="h" for="ch" forName="ParentAccent10" refType="h" fact="0.0988"/>
                </dgm:constrLst>
              </dgm:if>
              <dgm:if name="Name8" axis="ch" ptType="node" func="cnt" op="equ" val="1">
                <dgm:alg type="composite">
                  <dgm:param type="ar" val="3.4411"/>
                </dgm:alg>
                <dgm:constrLst>
                  <dgm:constr type="l" for="ch" forName="Child1Accent1" refType="w" fact="0.284"/>
                  <dgm:constr type="t" for="ch" forName="Child1Accent1" refType="h" fact="0.4012"/>
                  <dgm:constr type="w" for="ch" forName="Child1Accent1" refType="w" fact="0.0574"/>
                  <dgm:constr type="h" for="ch" forName="Child1Accent1" refType="h" fact="0.1976"/>
                  <dgm:constr type="l" for="ch" forName="Child1Accent2" refType="w" fact="0.2272"/>
                  <dgm:constr type="t" for="ch" forName="Child1Accent2" refType="h" fact="0.4506"/>
                  <dgm:constr type="w" for="ch" forName="Child1Accent2" refType="w" fact="0.0287"/>
                  <dgm:constr type="h" for="ch" forName="Child1Accent2" refType="h" fact="0.0988"/>
                  <dgm:constr type="l" for="ch" forName="Child1Accent3" refType="w" fact="0.1705"/>
                  <dgm:constr type="t" for="ch" forName="Child1Accent3" refType="h" fact="0.4506"/>
                  <dgm:constr type="w" for="ch" forName="Child1Accent3" refType="w" fact="0.0287"/>
                  <dgm:constr type="h" for="ch" forName="Child1Accent3" refType="h" fact="0.0988"/>
                  <dgm:constr type="l" for="ch" forName="Child1Accent4" refType="w" fact="0.1137"/>
                  <dgm:constr type="t" for="ch" forName="Child1Accent4" refType="h" fact="0.4506"/>
                  <dgm:constr type="w" for="ch" forName="Child1Accent4" refType="w" fact="0.0287"/>
                  <dgm:constr type="h" for="ch" forName="Child1Accent4" refType="h" fact="0.0988"/>
                  <dgm:constr type="l" for="ch" forName="Child1Accent5" refType="w" fact="0.057"/>
                  <dgm:constr type="t" for="ch" forName="Child1Accent5" refType="h" fact="0.4506"/>
                  <dgm:constr type="w" for="ch" forName="Child1Accent5" refType="w" fact="0.0287"/>
                  <dgm:constr type="h" for="ch" forName="Child1Accent5" refType="h" fact="0.0988"/>
                  <dgm:constr type="l" for="ch" forName="Child1Accent6" refType="w" fact="0.0002"/>
                  <dgm:constr type="t" for="ch" forName="Child1Accent6" refType="h" fact="0.4506"/>
                  <dgm:constr type="w" for="ch" forName="Child1Accent6" refType="w" fact="0.0287"/>
                  <dgm:constr type="h" for="ch" forName="Child1Accent6" refType="h" fact="0.0988"/>
                  <dgm:constr type="l" for="ch" forName="Child1Accent7" refType="w" fact="0"/>
                  <dgm:constr type="t" for="ch" forName="Child1Accent7" refType="h" fact="0"/>
                  <dgm:constr type="w" for="ch" forName="Child1Accent7" refType="w" fact="0"/>
                  <dgm:constr type="h" for="ch" forName="Child1Accent7" refType="h" fact="0"/>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l" for="ch" forName="ParentAccent1" refType="w" fact="0.9713"/>
                  <dgm:constr type="t" for="ch" forName="ParentAccent1" refType="h" fact="0.4506"/>
                  <dgm:constr type="w" for="ch" forName="ParentAccent1" refType="w" fact="0.0287"/>
                  <dgm:constr type="h" for="ch" forName="ParentAccent1" refType="h" fact="0.0988"/>
                  <dgm:constr type="l" for="ch" forName="ParentAccent2" refType="w" fact="0.9187"/>
                  <dgm:constr type="t" for="ch" forName="ParentAccent2" refType="h" fact="0.4506"/>
                  <dgm:constr type="w" for="ch" forName="ParentAccent2" refType="w" fact="0.0287"/>
                  <dgm:constr type="h" for="ch" forName="ParentAccent2" refType="h" fact="0.0988"/>
                  <dgm:constr type="l" for="ch" forName="ParentAccent3" refType="w" fact="0.8661"/>
                  <dgm:constr type="t" for="ch" forName="ParentAccent3" refType="h" fact="0.4506"/>
                  <dgm:constr type="w" for="ch" forName="ParentAccent3" refType="w" fact="0.0287"/>
                  <dgm:constr type="h" for="ch" forName="ParentAccent3" refType="h" fact="0.0988"/>
                  <dgm:constr type="l" for="ch" forName="ParentAccent4" refType="w" fact="0.8136"/>
                  <dgm:constr type="t" for="ch" forName="ParentAccent4" refType="h" fact="0.4506"/>
                  <dgm:constr type="w" for="ch" forName="ParentAccent4" refType="w" fact="0.0287"/>
                  <dgm:constr type="h" for="ch" forName="ParentAccent4" refType="h" fact="0.0988"/>
                  <dgm:constr type="l" for="ch" forName="ParentAccent5" refType="w" fact="0.761"/>
                  <dgm:constr type="t" for="ch" forName="ParentAccent5" refType="h" fact="0.4506"/>
                  <dgm:constr type="w" for="ch" forName="ParentAccent5" refType="w" fact="0.0287"/>
                  <dgm:constr type="h" for="ch" forName="ParentAccent5" refType="h" fact="0.0988"/>
                  <dgm:constr type="l" for="ch" forName="ParentAccent6" refType="w" fact="0.6797"/>
                  <dgm:constr type="t" for="ch" forName="ParentAccent6" refType="h" fact="0.4012"/>
                  <dgm:constr type="w" for="ch" forName="ParentAccent6" refType="w" fact="0.0574"/>
                  <dgm:constr type="h" for="ch" forName="ParentAccent6" refType="h" fact="0.1976"/>
                  <dgm:constr type="l" for="ch" forName="ParentAccent7" refType="w" fact="0.9245"/>
                  <dgm:constr type="t" for="ch" forName="ParentAccent7" refType="h" fact="0.2465"/>
                  <dgm:constr type="w" for="ch" forName="ParentAccent7" refType="w" fact="0.0287"/>
                  <dgm:constr type="h" for="ch" forName="ParentAccent7" refType="h" fact="0.0988"/>
                  <dgm:constr type="l" for="ch" forName="ParentAccent8" refType="w" fact="0.9245"/>
                  <dgm:constr type="t" for="ch" forName="ParentAccent8" refType="h" fact="0.6562"/>
                  <dgm:constr type="w" for="ch" forName="ParentAccent8" refType="w" fact="0.0287"/>
                  <dgm:constr type="h" for="ch" forName="ParentAccent8" refType="h" fact="0.0988"/>
                  <dgm:constr type="l" for="ch" forName="ParentAccent9" refType="w" fact="0.9501"/>
                  <dgm:constr type="t" for="ch" forName="ParentAccent9" refType="h" fact="0.3353"/>
                  <dgm:constr type="w" for="ch" forName="ParentAccent9" refType="w" fact="0.0287"/>
                  <dgm:constr type="h" for="ch" forName="ParentAccent9" refType="h" fact="0.0988"/>
                  <dgm:constr type="l" for="ch" forName="ParentAccent10" refType="w" fact="0.9518"/>
                  <dgm:constr type="t" for="ch" forName="ParentAccent10" refType="h" fact="0.5679"/>
                  <dgm:constr type="w" for="ch" forName="ParentAccent10" refType="w" fact="0.0287"/>
                  <dgm:constr type="h" for="ch" forName="ParentAccent10" refType="h" fact="0.0988"/>
                  <dgm:constr type="l" for="ch" forName="Child1" refType="w" fact="0"/>
                  <dgm:constr type="t" for="ch" forName="Child1" refType="h" fact="0.1978"/>
                  <dgm:constr type="w" for="ch" forName="Child1" refType="w" fact="0.2544"/>
                  <dgm:constr type="h" for="ch" forName="Child1" refType="h" fact="0.2541"/>
                  <dgm:constr type="l" for="ch" forName="Parent" refType="w" fact="0.3653"/>
                  <dgm:constr type="t" for="ch" forName="Parent" refType="h" fact="0"/>
                  <dgm:constr type="w" for="ch" forName="Parent" refType="w" fact="0.2906"/>
                  <dgm:constr type="h" for="ch" forName="Parent" refType="h"/>
                </dgm:constrLst>
              </dgm:if>
              <dgm:if name="Name9" axis="ch" ptType="node" func="cnt" op="equ" val="2">
                <dgm:alg type="composite">
                  <dgm:param type="ar" val="2.1185"/>
                </dgm:alg>
                <dgm:constrLst>
                  <dgm:constr type="l" for="ch" forName="Child1Accent1" refType="w" fact="0.3436"/>
                  <dgm:constr type="t" for="ch" forName="Child1Accent1" refType="h" fact="0.2211"/>
                  <dgm:constr type="w" for="ch" forName="Child1Accent1" refType="w" fact="0.0574"/>
                  <dgm:constr type="h" for="ch" forName="Child1Accent1" refType="h" fact="0.1217"/>
                  <dgm:constr type="l" for="ch" forName="Child1Accent2" refType="w" fact="0.3068"/>
                  <dgm:constr type="t" for="ch" forName="Child1Accent2" refType="h" fact="0.1569"/>
                  <dgm:constr type="w" for="ch" forName="Child1Accent2" refType="w" fact="0.0287"/>
                  <dgm:constr type="h" for="ch" forName="Child1Accent2" refType="h" fact="0.0608"/>
                  <dgm:constr type="l" for="ch" forName="Child1Accent3" refType="w" fact="0.2455"/>
                  <dgm:constr type="t" for="ch" forName="Child1Accent3" refType="h" fact="0.1569"/>
                  <dgm:constr type="w" for="ch" forName="Child1Accent3" refType="w" fact="0.0287"/>
                  <dgm:constr type="h" for="ch" forName="Child1Accent3" refType="h" fact="0.0608"/>
                  <dgm:constr type="l" for="ch" forName="Child1Accent4" refType="w" fact="0.1842"/>
                  <dgm:constr type="t" for="ch" forName="Child1Accent4" refType="h" fact="0.1569"/>
                  <dgm:constr type="w" for="ch" forName="Child1Accent4" refType="w" fact="0.0287"/>
                  <dgm:constr type="h" for="ch" forName="Child1Accent4" refType="h" fact="0.0608"/>
                  <dgm:constr type="l" for="ch" forName="Child1Accent5" refType="w" fact="0.1229"/>
                  <dgm:constr type="t" for="ch" forName="Child1Accent5" refType="h" fact="0.1569"/>
                  <dgm:constr type="w" for="ch" forName="Child1Accent5" refType="w" fact="0.0287"/>
                  <dgm:constr type="h" for="ch" forName="Child1Accent5" refType="h" fact="0.0608"/>
                  <dgm:constr type="l" for="ch" forName="Child1Accent6" refType="w" fact="0.0615"/>
                  <dgm:constr type="t" for="ch" forName="Child1Accent6" refType="h" fact="0.1569"/>
                  <dgm:constr type="w" for="ch" forName="Child1Accent6" refType="w" fact="0.0287"/>
                  <dgm:constr type="h" for="ch" forName="Child1Accent6" refType="h" fact="0.0608"/>
                  <dgm:constr type="l" for="ch" forName="Child1Accent7" refType="w" fact="0.0002"/>
                  <dgm:constr type="t" for="ch" forName="Child1Accent7" refType="h" fact="0.1569"/>
                  <dgm:constr type="w" for="ch" forName="Child1Accent7" refType="w" fact="0.0287"/>
                  <dgm:constr type="h" for="ch" forName="Child1Accent7" refType="h" fact="0.0608"/>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l" for="ch" forName="Child2Accent1" refType="w" fact="0.3436"/>
                  <dgm:constr type="t" for="ch" forName="Child2Accent1" refType="h" fact="0.8153"/>
                  <dgm:constr type="w" for="ch" forName="Child2Accent1" refType="w" fact="0.0574"/>
                  <dgm:constr type="h" for="ch" forName="Child2Accent1" refType="h" fact="0.1217"/>
                  <dgm:constr type="l" for="ch" forName="Child2Accent2" refType="w" fact="0.3068"/>
                  <dgm:constr type="t" for="ch" forName="Child2Accent2" refType="h" fact="0.9392"/>
                  <dgm:constr type="w" for="ch" forName="Child2Accent2" refType="w" fact="0.0287"/>
                  <dgm:constr type="h" for="ch" forName="Child2Accent2" refType="h" fact="0.0608"/>
                  <dgm:constr type="l" for="ch" forName="Child2Accent3" refType="w" fact="0.2455"/>
                  <dgm:constr type="t" for="ch" forName="Child2Accent3" refType="h" fact="0.9392"/>
                  <dgm:constr type="w" for="ch" forName="Child2Accent3" refType="w" fact="0.0287"/>
                  <dgm:constr type="h" for="ch" forName="Child2Accent3" refType="h" fact="0.0608"/>
                  <dgm:constr type="l" for="ch" forName="Child2Accent4" refType="w" fact="0.1842"/>
                  <dgm:constr type="t" for="ch" forName="Child2Accent4" refType="h" fact="0.9392"/>
                  <dgm:constr type="w" for="ch" forName="Child2Accent4" refType="w" fact="0.0287"/>
                  <dgm:constr type="h" for="ch" forName="Child2Accent4" refType="h" fact="0.0608"/>
                  <dgm:constr type="l" for="ch" forName="Child2Accent5" refType="w" fact="0.1229"/>
                  <dgm:constr type="t" for="ch" forName="Child2Accent5" refType="h" fact="0.9392"/>
                  <dgm:constr type="w" for="ch" forName="Child2Accent5" refType="w" fact="0.0287"/>
                  <dgm:constr type="h" for="ch" forName="Child2Accent5" refType="h" fact="0.0608"/>
                  <dgm:constr type="l" for="ch" forName="Child2Accent6" refType="w" fact="0.0615"/>
                  <dgm:constr type="t" for="ch" forName="Child2Accent6" refType="h" fact="0.9392"/>
                  <dgm:constr type="w" for="ch" forName="Child2Accent6" refType="w" fact="0.0287"/>
                  <dgm:constr type="h" for="ch" forName="Child2Accent6" refType="h" fact="0.0608"/>
                  <dgm:constr type="l" for="ch" forName="Child2Accent7" refType="w" fact="0.0002"/>
                  <dgm:constr type="t" for="ch" forName="Child2Accent7" refType="h" fact="0.9392"/>
                  <dgm:constr type="w" for="ch" forName="Child2Accent7" refType="w" fact="0.0287"/>
                  <dgm:constr type="h" for="ch" forName="Child2Accent7" refType="h" fact="0.0608"/>
                  <dgm:constr type="l" for="ch" forName="ParentAccent1" refType="w" fact="0.9713"/>
                  <dgm:constr type="t" for="ch" forName="ParentAccent1" refType="h" fact="0.5511"/>
                  <dgm:constr type="w" for="ch" forName="ParentAccent1" refType="w" fact="0.0287"/>
                  <dgm:constr type="h" for="ch" forName="ParentAccent1" refType="h" fact="0.0608"/>
                  <dgm:constr type="l" for="ch" forName="ParentAccent2" refType="w" fact="0.9187"/>
                  <dgm:constr type="t" for="ch" forName="ParentAccent2" refType="h" fact="0.5511"/>
                  <dgm:constr type="w" for="ch" forName="ParentAccent2" refType="w" fact="0.0287"/>
                  <dgm:constr type="h" for="ch" forName="ParentAccent2" refType="h" fact="0.0608"/>
                  <dgm:constr type="l" for="ch" forName="ParentAccent3" refType="w" fact="0.8661"/>
                  <dgm:constr type="t" for="ch" forName="ParentAccent3" refType="h" fact="0.5511"/>
                  <dgm:constr type="w" for="ch" forName="ParentAccent3" refType="w" fact="0.0287"/>
                  <dgm:constr type="h" for="ch" forName="ParentAccent3" refType="h" fact="0.0608"/>
                  <dgm:constr type="l" for="ch" forName="ParentAccent4" refType="w" fact="0.8136"/>
                  <dgm:constr type="t" for="ch" forName="ParentAccent4" refType="h" fact="0.5511"/>
                  <dgm:constr type="w" for="ch" forName="ParentAccent4" refType="w" fact="0.0287"/>
                  <dgm:constr type="h" for="ch" forName="ParentAccent4" refType="h" fact="0.0608"/>
                  <dgm:constr type="l" for="ch" forName="ParentAccent5" refType="w" fact="0.761"/>
                  <dgm:constr type="t" for="ch" forName="ParentAccent5" refType="h" fact="0.5511"/>
                  <dgm:constr type="w" for="ch" forName="ParentAccent5" refType="w" fact="0.0287"/>
                  <dgm:constr type="h" for="ch" forName="ParentAccent5" refType="h" fact="0.0608"/>
                  <dgm:constr type="l" for="ch" forName="ParentAccent6" refType="w" fact="0.6797"/>
                  <dgm:constr type="t" for="ch" forName="ParentAccent6" refType="h" fact="0.5207"/>
                  <dgm:constr type="w" for="ch" forName="ParentAccent6" refType="w" fact="0.0574"/>
                  <dgm:constr type="h" for="ch" forName="ParentAccent6" refType="h" fact="0.1217"/>
                  <dgm:constr type="l" for="ch" forName="ParentAccent7" refType="w" fact="0.9245"/>
                  <dgm:constr type="t" for="ch" forName="ParentAccent7" refType="h" fact="0.4255"/>
                  <dgm:constr type="w" for="ch" forName="ParentAccent7" refType="w" fact="0.0287"/>
                  <dgm:constr type="h" for="ch" forName="ParentAccent7" refType="h" fact="0.0608"/>
                  <dgm:constr type="l" for="ch" forName="ParentAccent8" refType="w" fact="0.9245"/>
                  <dgm:constr type="t" for="ch" forName="ParentAccent8" refType="h" fact="0.6776"/>
                  <dgm:constr type="w" for="ch" forName="ParentAccent8" refType="w" fact="0.0287"/>
                  <dgm:constr type="h" for="ch" forName="ParentAccent8" refType="h" fact="0.0608"/>
                  <dgm:constr type="l" for="ch" forName="ParentAccent9" refType="w" fact="0.9501"/>
                  <dgm:constr type="t" for="ch" forName="ParentAccent9" refType="h" fact="0.4801"/>
                  <dgm:constr type="w" for="ch" forName="ParentAccent9" refType="w" fact="0.0287"/>
                  <dgm:constr type="h" for="ch" forName="ParentAccent9" refType="h" fact="0.0608"/>
                  <dgm:constr type="l" for="ch" forName="ParentAccent10" refType="w" fact="0.9518"/>
                  <dgm:constr type="t" for="ch" forName="ParentAccent10" refType="h" fact="0.6233"/>
                  <dgm:constr type="w" for="ch" forName="ParentAccent10" refType="w" fact="0.0287"/>
                  <dgm:constr type="h" for="ch" forName="ParentAccent10" refType="h" fact="0.0608"/>
                  <dgm:constr type="l" for="ch" forName="Child2" refType="w" fact="0"/>
                  <dgm:constr type="t" for="ch" forName="Child2" refType="h" fact="0.7822"/>
                  <dgm:constr type="w" for="ch" forName="Child2" refType="w" fact="0.3364"/>
                  <dgm:constr type="h" for="ch" forName="Child2" refType="h" fact="0.1564"/>
                  <dgm:constr type="l" for="ch" forName="Child1" refType="w" fact="0"/>
                  <dgm:constr type="t" for="ch" forName="Child1" refType="h" fact="0"/>
                  <dgm:constr type="w" for="ch" forName="Child1" refType="w" fact="0.3364"/>
                  <dgm:constr type="h" for="ch" forName="Child1" refType="h" fact="0.1564"/>
                  <dgm:constr type="l" for="ch" forName="Parent" refType="w" fact="0.3653"/>
                  <dgm:constr type="t" for="ch" forName="Parent" refType="h" fact="0.2737"/>
                  <dgm:constr type="w" for="ch" forName="Parent" refType="w" fact="0.2906"/>
                  <dgm:constr type="h" for="ch" forName="Parent" refType="h" fact="0.6157"/>
                </dgm:constrLst>
              </dgm:if>
              <dgm:if name="Name10" axis="ch" ptType="node" func="cnt" op="equ" val="3">
                <dgm:alg type="composite">
                  <dgm:param type="ar" val="2.1185"/>
                </dgm:alg>
                <dgm:constrLst>
                  <dgm:constr type="l" for="ch" forName="Child1Accent1" refType="w" fact="0.3436"/>
                  <dgm:constr type="t" for="ch" forName="Child1Accent1" refType="h" fact="0.2211"/>
                  <dgm:constr type="w" for="ch" forName="Child1Accent1" refType="w" fact="0.0574"/>
                  <dgm:constr type="h" for="ch" forName="Child1Accent1" refType="h" fact="0.1217"/>
                  <dgm:constr type="l" for="ch" forName="Child1Accent2" refType="w" fact="0.3068"/>
                  <dgm:constr type="t" for="ch" forName="Child1Accent2" refType="h" fact="0.1569"/>
                  <dgm:constr type="w" for="ch" forName="Child1Accent2" refType="w" fact="0.0287"/>
                  <dgm:constr type="h" for="ch" forName="Child1Accent2" refType="h" fact="0.0608"/>
                  <dgm:constr type="l" for="ch" forName="Child1Accent3" refType="w" fact="0.2455"/>
                  <dgm:constr type="t" for="ch" forName="Child1Accent3" refType="h" fact="0.1569"/>
                  <dgm:constr type="w" for="ch" forName="Child1Accent3" refType="w" fact="0.0287"/>
                  <dgm:constr type="h" for="ch" forName="Child1Accent3" refType="h" fact="0.0608"/>
                  <dgm:constr type="l" for="ch" forName="Child1Accent4" refType="w" fact="0.1842"/>
                  <dgm:constr type="t" for="ch" forName="Child1Accent4" refType="h" fact="0.1569"/>
                  <dgm:constr type="w" for="ch" forName="Child1Accent4" refType="w" fact="0.0287"/>
                  <dgm:constr type="h" for="ch" forName="Child1Accent4" refType="h" fact="0.0608"/>
                  <dgm:constr type="l" for="ch" forName="Child1Accent5" refType="w" fact="0.1229"/>
                  <dgm:constr type="t" for="ch" forName="Child1Accent5" refType="h" fact="0.1569"/>
                  <dgm:constr type="w" for="ch" forName="Child1Accent5" refType="w" fact="0.0287"/>
                  <dgm:constr type="h" for="ch" forName="Child1Accent5" refType="h" fact="0.0608"/>
                  <dgm:constr type="l" for="ch" forName="Child2Accent1" refType="w" fact="0.284"/>
                  <dgm:constr type="t" for="ch" forName="Child2Accent1" refType="h" fact="0.5207"/>
                  <dgm:constr type="w" for="ch" forName="Child2Accent1" refType="w" fact="0.0574"/>
                  <dgm:constr type="h" for="ch" forName="Child2Accent1" refType="h" fact="0.1217"/>
                  <dgm:constr type="l" for="ch" forName="Child2Accent2" refType="w" fact="0.2272"/>
                  <dgm:constr type="t" for="ch" forName="Child2Accent2" refType="h" fact="0.5511"/>
                  <dgm:constr type="w" for="ch" forName="Child2Accent2" refType="w" fact="0.0287"/>
                  <dgm:constr type="h" for="ch" forName="Child2Accent2" refType="h" fact="0.0608"/>
                  <dgm:constr type="l" for="ch" forName="Child2Accent3" refType="w" fact="0.1705"/>
                  <dgm:constr type="t" for="ch" forName="Child2Accent3" refType="h" fact="0.5511"/>
                  <dgm:constr type="w" for="ch" forName="Child2Accent3" refType="w" fact="0.0287"/>
                  <dgm:constr type="h" for="ch" forName="Child2Accent3" refType="h" fact="0.0608"/>
                  <dgm:constr type="l" for="ch" forName="Child2Accent4" refType="w" fact="0.1137"/>
                  <dgm:constr type="t" for="ch" forName="Child2Accent4" refType="h" fact="0.5511"/>
                  <dgm:constr type="w" for="ch" forName="Child2Accent4" refType="w" fact="0.0287"/>
                  <dgm:constr type="h" for="ch" forName="Child2Accent4" refType="h" fact="0.0608"/>
                  <dgm:constr type="l" for="ch" forName="Child1Accent6" refType="w" fact="0.0615"/>
                  <dgm:constr type="t" for="ch" forName="Child1Accent6" refType="h" fact="0.1569"/>
                  <dgm:constr type="w" for="ch" forName="Child1Accent6" refType="w" fact="0.0287"/>
                  <dgm:constr type="h" for="ch" forName="Child1Accent6" refType="h" fact="0.0608"/>
                  <dgm:constr type="l" for="ch" forName="Child2Accent5" refType="w" fact="0.057"/>
                  <dgm:constr type="t" for="ch" forName="Child2Accent5" refType="h" fact="0.5511"/>
                  <dgm:constr type="w" for="ch" forName="Child2Accent5" refType="w" fact="0.0287"/>
                  <dgm:constr type="h" for="ch" forName="Child2Accent5" refType="h" fact="0.0608"/>
                  <dgm:constr type="l" for="ch" forName="Child1Accent7" refType="w" fact="0.0002"/>
                  <dgm:constr type="t" for="ch" forName="Child1Accent7" refType="h" fact="0.1569"/>
                  <dgm:constr type="w" for="ch" forName="Child1Accent7" refType="w" fact="0.0287"/>
                  <dgm:constr type="h" for="ch" forName="Child1Accent7" refType="h" fact="0.0608"/>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l" for="ch" forName="Child2Accent6" refType="w" fact="0.0002"/>
                  <dgm:constr type="t" for="ch" forName="Child2Accent6" refType="h" fact="0.5511"/>
                  <dgm:constr type="w" for="ch" forName="Child2Accent6" refType="w" fact="0.0287"/>
                  <dgm:constr type="h" for="ch" forName="Child2Accent6" refType="h" fact="0.0608"/>
                  <dgm:constr type="l" for="ch" forName="Child2Accent7" refType="w" fact="0"/>
                  <dgm:constr type="t" for="ch" forName="Child2Accent7" refType="h" fact="0"/>
                  <dgm:constr type="w" for="ch" forName="Child2Accent7" refType="w" fact="0"/>
                  <dgm:constr type="h" for="ch" forName="Child2Accent7" refType="h" fact="0"/>
                  <dgm:constr type="l" for="ch" forName="Child3Accent1" refType="w" fact="0.3436"/>
                  <dgm:constr type="t" for="ch" forName="Child3Accent1" refType="h" fact="0.8153"/>
                  <dgm:constr type="w" for="ch" forName="Child3Accent1" refType="w" fact="0.0574"/>
                  <dgm:constr type="h" for="ch" forName="Child3Accent1" refType="h" fact="0.1217"/>
                  <dgm:constr type="l" for="ch" forName="Child3Accent2" refType="w" fact="0.3068"/>
                  <dgm:constr type="t" for="ch" forName="Child3Accent2" refType="h" fact="0.9392"/>
                  <dgm:constr type="w" for="ch" forName="Child3Accent2" refType="w" fact="0.0287"/>
                  <dgm:constr type="h" for="ch" forName="Child3Accent2" refType="h" fact="0.0608"/>
                  <dgm:constr type="l" for="ch" forName="Child3Accent3" refType="w" fact="0.2455"/>
                  <dgm:constr type="t" for="ch" forName="Child3Accent3" refType="h" fact="0.9392"/>
                  <dgm:constr type="w" for="ch" forName="Child3Accent3" refType="w" fact="0.0287"/>
                  <dgm:constr type="h" for="ch" forName="Child3Accent3" refType="h" fact="0.0608"/>
                  <dgm:constr type="l" for="ch" forName="Child3Accent4" refType="w" fact="0.1842"/>
                  <dgm:constr type="t" for="ch" forName="Child3Accent4" refType="h" fact="0.9392"/>
                  <dgm:constr type="w" for="ch" forName="Child3Accent4" refType="w" fact="0.0287"/>
                  <dgm:constr type="h" for="ch" forName="Child3Accent4" refType="h" fact="0.0608"/>
                  <dgm:constr type="l" for="ch" forName="Child3Accent5" refType="w" fact="0.1229"/>
                  <dgm:constr type="t" for="ch" forName="Child3Accent5" refType="h" fact="0.9392"/>
                  <dgm:constr type="w" for="ch" forName="Child3Accent5" refType="w" fact="0.0287"/>
                  <dgm:constr type="h" for="ch" forName="Child3Accent5" refType="h" fact="0.0608"/>
                  <dgm:constr type="l" for="ch" forName="Child3Accent6" refType="w" fact="0.0615"/>
                  <dgm:constr type="t" for="ch" forName="Child3Accent6" refType="h" fact="0.9392"/>
                  <dgm:constr type="w" for="ch" forName="Child3Accent6" refType="w" fact="0.0287"/>
                  <dgm:constr type="h" for="ch" forName="Child3Accent6" refType="h" fact="0.0608"/>
                  <dgm:constr type="l" for="ch" forName="Child3Accent7" refType="w" fact="0.0002"/>
                  <dgm:constr type="t" for="ch" forName="Child3Accent7" refType="h" fact="0.9392"/>
                  <dgm:constr type="w" for="ch" forName="Child3Accent7" refType="w" fact="0.0287"/>
                  <dgm:constr type="h" for="ch" forName="Child3Accent7" refType="h" fact="0.0608"/>
                  <dgm:constr type="l" for="ch" forName="ParentAccent1" refType="w" fact="0.9713"/>
                  <dgm:constr type="t" for="ch" forName="ParentAccent1" refType="h" fact="0.5511"/>
                  <dgm:constr type="w" for="ch" forName="ParentAccent1" refType="w" fact="0.0287"/>
                  <dgm:constr type="h" for="ch" forName="ParentAccent1" refType="h" fact="0.0608"/>
                  <dgm:constr type="l" for="ch" forName="ParentAccent2" refType="w" fact="0.9187"/>
                  <dgm:constr type="t" for="ch" forName="ParentAccent2" refType="h" fact="0.5511"/>
                  <dgm:constr type="w" for="ch" forName="ParentAccent2" refType="w" fact="0.0287"/>
                  <dgm:constr type="h" for="ch" forName="ParentAccent2" refType="h" fact="0.0608"/>
                  <dgm:constr type="l" for="ch" forName="ParentAccent3" refType="w" fact="0.8661"/>
                  <dgm:constr type="t" for="ch" forName="ParentAccent3" refType="h" fact="0.5511"/>
                  <dgm:constr type="w" for="ch" forName="ParentAccent3" refType="w" fact="0.0287"/>
                  <dgm:constr type="h" for="ch" forName="ParentAccent3" refType="h" fact="0.0608"/>
                  <dgm:constr type="l" for="ch" forName="ParentAccent4" refType="w" fact="0.8136"/>
                  <dgm:constr type="t" for="ch" forName="ParentAccent4" refType="h" fact="0.5511"/>
                  <dgm:constr type="w" for="ch" forName="ParentAccent4" refType="w" fact="0.0287"/>
                  <dgm:constr type="h" for="ch" forName="ParentAccent4" refType="h" fact="0.0608"/>
                  <dgm:constr type="l" for="ch" forName="ParentAccent5" refType="w" fact="0.761"/>
                  <dgm:constr type="t" for="ch" forName="ParentAccent5" refType="h" fact="0.5511"/>
                  <dgm:constr type="w" for="ch" forName="ParentAccent5" refType="w" fact="0.0287"/>
                  <dgm:constr type="h" for="ch" forName="ParentAccent5" refType="h" fact="0.0608"/>
                  <dgm:constr type="l" for="ch" forName="ParentAccent6" refType="w" fact="0.6797"/>
                  <dgm:constr type="t" for="ch" forName="ParentAccent6" refType="h" fact="0.5207"/>
                  <dgm:constr type="w" for="ch" forName="ParentAccent6" refType="w" fact="0.0574"/>
                  <dgm:constr type="h" for="ch" forName="ParentAccent6" refType="h" fact="0.1217"/>
                  <dgm:constr type="l" for="ch" forName="ParentAccent7" refType="w" fact="0.9245"/>
                  <dgm:constr type="t" for="ch" forName="ParentAccent7" refType="h" fact="0.4255"/>
                  <dgm:constr type="w" for="ch" forName="ParentAccent7" refType="w" fact="0.0287"/>
                  <dgm:constr type="h" for="ch" forName="ParentAccent7" refType="h" fact="0.0608"/>
                  <dgm:constr type="l" for="ch" forName="ParentAccent8" refType="w" fact="0.9245"/>
                  <dgm:constr type="t" for="ch" forName="ParentAccent8" refType="h" fact="0.6776"/>
                  <dgm:constr type="w" for="ch" forName="ParentAccent8" refType="w" fact="0.0287"/>
                  <dgm:constr type="h" for="ch" forName="ParentAccent8" refType="h" fact="0.0608"/>
                  <dgm:constr type="l" for="ch" forName="ParentAccent9" refType="w" fact="0.9501"/>
                  <dgm:constr type="t" for="ch" forName="ParentAccent9" refType="h" fact="0.4801"/>
                  <dgm:constr type="w" for="ch" forName="ParentAccent9" refType="w" fact="0.0287"/>
                  <dgm:constr type="h" for="ch" forName="ParentAccent9" refType="h" fact="0.0608"/>
                  <dgm:constr type="l" for="ch" forName="ParentAccent10" refType="w" fact="0.9518"/>
                  <dgm:constr type="t" for="ch" forName="ParentAccent10" refType="h" fact="0.6233"/>
                  <dgm:constr type="w" for="ch" forName="ParentAccent10" refType="w" fact="0.0287"/>
                  <dgm:constr type="h" for="ch" forName="ParentAccent10" refType="h" fact="0.0608"/>
                  <dgm:constr type="l" for="ch" forName="Child3" refType="w" fact="0"/>
                  <dgm:constr type="t" for="ch" forName="Child3" refType="h" fact="0.7822"/>
                  <dgm:constr type="w" for="ch" forName="Child3" refType="w" fact="0.3364"/>
                  <dgm:constr type="h" for="ch" forName="Child3" refType="h" fact="0.1564"/>
                  <dgm:constr type="l" for="ch" forName="Child2" refType="w" fact="0"/>
                  <dgm:constr type="t" for="ch" forName="Child2" refType="h" fact="0.3955"/>
                  <dgm:constr type="w" for="ch" forName="Child2" refType="w" fact="0.2544"/>
                  <dgm:constr type="h" for="ch" forName="Child2" refType="h" fact="0.1564"/>
                  <dgm:constr type="l" for="ch" forName="Child1" refType="w" fact="0"/>
                  <dgm:constr type="t" for="ch" forName="Child1" refType="h" fact="0"/>
                  <dgm:constr type="w" for="ch" forName="Child1" refType="w" fact="0.3364"/>
                  <dgm:constr type="h" for="ch" forName="Child1" refType="h" fact="0.1564"/>
                  <dgm:constr type="l" for="ch" forName="Parent" refType="w" fact="0.3653"/>
                  <dgm:constr type="t" for="ch" forName="Parent" refType="h" fact="0.2737"/>
                  <dgm:constr type="w" for="ch" forName="Parent" refType="w" fact="0.2906"/>
                  <dgm:constr type="h" for="ch" forName="Parent" refType="h" fact="0.6157"/>
                </dgm:constrLst>
              </dgm:if>
              <dgm:if name="Name11" axis="ch" ptType="node" func="cnt" op="equ" val="4">
                <dgm:alg type="composite">
                  <dgm:param type="ar" val="1.8304"/>
                </dgm:alg>
                <dgm:constrLst>
                  <dgm:constr type="l" for="ch" forName="Parent" refType="w" fact="0.3771"/>
                  <dgm:constr type="t" for="ch" forName="Parent" refType="h" fact="0.2946"/>
                  <dgm:constr type="w" for="ch" forName="Parent" refType="w" fact="0.2862"/>
                  <dgm:constr type="h" for="ch" forName="Parent" refType="h" fact="0.5239"/>
                  <dgm:constr type="l" for="ch" forName="Child1Accent1" refType="w" fact="0.3904"/>
                  <dgm:constr type="t" for="ch" forName="Child1Accent1" refType="h" fact="0.2104"/>
                  <dgm:constr type="w" for="ch" forName="Child1Accent1" refType="w" fact="0.0566"/>
                  <dgm:constr type="h" for="ch" forName="Child1Accent1" refType="h" fact="0.1035"/>
                  <dgm:constr type="l" for="ch" forName="Child1Accent3" refType="w" fact="0.3001"/>
                  <dgm:constr type="t" for="ch" forName="Child1Accent3" refType="h" fact="0.128"/>
                  <dgm:constr type="w" for="ch" forName="Child1Accent3" refType="w" fact="0.0283"/>
                  <dgm:constr type="h" for="ch" forName="Child1Accent3" refType="h" fact="0.0518"/>
                  <dgm:constr type="l" for="ch" forName="Child1Accent4" refType="w" fact="0.2418"/>
                  <dgm:constr type="t" for="ch" forName="Child1Accent4" refType="h" fact="0.128"/>
                  <dgm:constr type="w" for="ch" forName="Child1Accent4" refType="w" fact="0.0283"/>
                  <dgm:constr type="h" for="ch" forName="Child1Accent4" refType="h" fact="0.0518"/>
                  <dgm:constr type="l" for="ch" forName="Child1Accent5" refType="w" fact="0.1835"/>
                  <dgm:constr type="t" for="ch" forName="Child1Accent5" refType="h" fact="0.128"/>
                  <dgm:constr type="w" for="ch" forName="Child1Accent5" refType="w" fact="0.0283"/>
                  <dgm:constr type="h" for="ch" forName="Child1Accent5" refType="h" fact="0.0518"/>
                  <dgm:constr type="l" for="ch" forName="Child1Accent6" refType="w" fact="0.1252"/>
                  <dgm:constr type="t" for="ch" forName="Child1Accent6" refType="h" fact="0.128"/>
                  <dgm:constr type="w" for="ch" forName="Child1Accent6" refType="w" fact="0.0283"/>
                  <dgm:constr type="h" for="ch" forName="Child1Accent6" refType="h" fact="0.0518"/>
                  <dgm:constr type="l" for="ch" forName="Child3Accent1" refType="w" fact="0.3158"/>
                  <dgm:constr type="t" for="ch" forName="Child3Accent1" refType="h" fact="0.6212"/>
                  <dgm:constr type="w" for="ch" forName="Child3Accent1" refType="w" fact="0.0566"/>
                  <dgm:constr type="h" for="ch" forName="Child3Accent1" refType="h" fact="0.1035"/>
                  <dgm:constr type="l" for="ch" forName="Child3Accent2" refType="w" fact="0.2689"/>
                  <dgm:constr type="t" for="ch" forName="Child3Accent2" refType="h" fact="0.6828"/>
                  <dgm:constr type="w" for="ch" forName="Child3Accent2" refType="w" fact="0.0283"/>
                  <dgm:constr type="h" for="ch" forName="Child3Accent2" refType="h" fact="0.0518"/>
                  <dgm:constr type="l" for="ch" forName="Child3Accent4" refType="w" fact="0.1614"/>
                  <dgm:constr type="t" for="ch" forName="Child3Accent4" refType="h" fact="0.6828"/>
                  <dgm:constr type="w" for="ch" forName="Child3Accent4" refType="w" fact="0.0283"/>
                  <dgm:constr type="h" for="ch" forName="Child3Accent4" refType="h" fact="0.0518"/>
                  <dgm:constr type="l" for="ch" forName="Child3Accent5" refType="w" fact="0.1077"/>
                  <dgm:constr type="t" for="ch" forName="Child3Accent5" refType="h" fact="0.6828"/>
                  <dgm:constr type="w" for="ch" forName="Child3Accent5" refType="w" fact="0.0283"/>
                  <dgm:constr type="h" for="ch" forName="Child3Accent5" refType="h" fact="0.0518"/>
                  <dgm:constr type="l" for="ch" forName="Child1Accent7" refType="w" fact="0.0668"/>
                  <dgm:constr type="t" for="ch" forName="Child1Accent7" refType="h" fact="0.128"/>
                  <dgm:constr type="w" for="ch" forName="Child1Accent7" refType="w" fact="0.0283"/>
                  <dgm:constr type="h" for="ch" forName="Child1Accent7" refType="h" fact="0.0518"/>
                  <dgm:constr type="l" for="ch" forName="Child3Accent6" refType="w" fact="0.0539"/>
                  <dgm:constr type="t" for="ch" forName="Child3Accent6" refType="h" fact="0.6828"/>
                  <dgm:constr type="w" for="ch" forName="Child3Accent6" refType="w" fact="0.0283"/>
                  <dgm:constr type="h" for="ch" forName="Child3Accent6" refType="h" fact="0.0518"/>
                  <dgm:constr type="l" for="ch" forName="Child1Accent8" refType="w" fact="0.0085"/>
                  <dgm:constr type="t" for="ch" forName="Child1Accent8" refType="h" fact="0.128"/>
                  <dgm:constr type="w" for="ch" forName="Child1Accent8" refType="w" fact="0.0283"/>
                  <dgm:constr type="h" for="ch" forName="Child1Accent8" refType="h" fact="0.0518"/>
                  <dgm:constr type="l" for="ch" forName="Child1Accent9" refType="w" fact="0"/>
                  <dgm:constr type="t" for="ch" forName="Child1Accent9" refType="h" fact="0"/>
                  <dgm:constr type="w" for="ch" forName="Child1Accent9" refType="w" fact="0"/>
                  <dgm:constr type="h" for="ch" forName="Child1Accent9" refType="h" fact="0"/>
                  <dgm:constr type="l" for="ch" forName="Child3Accent7" refType="w" fact="0.0002"/>
                  <dgm:constr type="t" for="ch" forName="Child3Accent7" refType="h" fact="0.6828"/>
                  <dgm:constr type="w" for="ch" forName="Child3Accent7" refType="w" fact="0.0283"/>
                  <dgm:constr type="h" for="ch" forName="Child3Accent7" refType="h" fact="0.0518"/>
                  <dgm:constr type="l" for="ch" forName="Child4Accent1" refType="w" fact="0.3904"/>
                  <dgm:constr type="t" for="ch" forName="Child4Accent1" refType="h" fact="0.8"/>
                  <dgm:constr type="w" for="ch" forName="Child4Accent1" refType="w" fact="0.0566"/>
                  <dgm:constr type="h" for="ch" forName="Child4Accent1" refType="h" fact="0.1035"/>
                  <dgm:constr type="l" for="ch" forName="Child4Accent3" refType="w" fact="0.2998"/>
                  <dgm:constr type="t" for="ch" forName="Child4Accent3" refType="h" fact="0.9482"/>
                  <dgm:constr type="w" for="ch" forName="Child4Accent3" refType="w" fact="0.0283"/>
                  <dgm:constr type="h" for="ch" forName="Child4Accent3" refType="h" fact="0.0518"/>
                  <dgm:constr type="l" for="ch" forName="Child4Accent4" refType="w" fact="0.2415"/>
                  <dgm:constr type="t" for="ch" forName="Child4Accent4" refType="h" fact="0.9482"/>
                  <dgm:constr type="w" for="ch" forName="Child4Accent4" refType="w" fact="0.0283"/>
                  <dgm:constr type="h" for="ch" forName="Child4Accent4" refType="h" fact="0.0518"/>
                  <dgm:constr type="l" for="ch" forName="Child4Accent5" refType="w" fact="0.1833"/>
                  <dgm:constr type="t" for="ch" forName="Child4Accent5" refType="h" fact="0.9482"/>
                  <dgm:constr type="w" for="ch" forName="Child4Accent5" refType="w" fact="0.0283"/>
                  <dgm:constr type="h" for="ch" forName="Child4Accent5" refType="h" fact="0.0518"/>
                  <dgm:constr type="l" for="ch" forName="Child4Accent6" refType="w" fact="0.1251"/>
                  <dgm:constr type="t" for="ch" forName="Child4Accent6" refType="h" fact="0.9482"/>
                  <dgm:constr type="w" for="ch" forName="Child4Accent6" refType="w" fact="0.0283"/>
                  <dgm:constr type="h" for="ch" forName="Child4Accent6" refType="h" fact="0.0518"/>
                  <dgm:constr type="l" for="ch" forName="Child4Accent7" refType="w" fact="0.0668"/>
                  <dgm:constr type="t" for="ch" forName="Child4Accent7" refType="h" fact="0.9482"/>
                  <dgm:constr type="w" for="ch" forName="Child4Accent7" refType="w" fact="0.0283"/>
                  <dgm:constr type="h" for="ch" forName="Child4Accent7" refType="h" fact="0.0518"/>
                  <dgm:constr type="l" for="ch" forName="Child4Accent8" refType="w" fact="0.0086"/>
                  <dgm:constr type="t" for="ch" forName="Child4Accent8" refType="h" fact="0.9482"/>
                  <dgm:constr type="w" for="ch" forName="Child4Accent8" refType="w" fact="0.0283"/>
                  <dgm:constr type="h" for="ch" forName="Child4Accent8" refType="h" fact="0.0518"/>
                  <dgm:constr type="l" for="ch" forName="Child2Accent1" refType="w" fact="0.3158"/>
                  <dgm:constr type="t" for="ch" forName="Child2Accent1" refType="h" fact="0.3725"/>
                  <dgm:constr type="w" for="ch" forName="Child2Accent1" refType="w" fact="0.0566"/>
                  <dgm:constr type="h" for="ch" forName="Child2Accent1" refType="h" fact="0.1035"/>
                  <dgm:constr type="l" for="ch" forName="Child4Accent2" refType="w" fact="0.358"/>
                  <dgm:constr type="t" for="ch" forName="Child4Accent2" refType="h" fact="0.8993"/>
                  <dgm:constr type="w" for="ch" forName="Child4Accent2" refType="w" fact="0.0283"/>
                  <dgm:constr type="h" for="ch" forName="Child4Accent2" refType="h" fact="0.0518"/>
                  <dgm:constr type="l" for="ch" forName="Child1Accent2" refType="w" fact="0.3585"/>
                  <dgm:constr type="t" for="ch" forName="Child1Accent2" refType="h" fact="0.162"/>
                  <dgm:constr type="w" for="ch" forName="Child1Accent2" refType="w" fact="0.0283"/>
                  <dgm:constr type="h" for="ch" forName="Child1Accent2" refType="h" fact="0.0518"/>
                  <dgm:constr type="l" for="ch" forName="Child3Accent3" refType="w" fact="0.2151"/>
                  <dgm:constr type="t" for="ch" forName="Child3Accent3" refType="h" fact="0.6828"/>
                  <dgm:constr type="w" for="ch" forName="Child3Accent3" refType="w" fact="0.0283"/>
                  <dgm:constr type="h" for="ch" forName="Child3Accent3" refType="h" fact="0.0518"/>
                  <dgm:constr type="l" for="ch" forName="Child2Accent2" refType="w" fact="0.2689"/>
                  <dgm:constr type="t" for="ch" forName="Child2Accent2" refType="h" fact="0.3937"/>
                  <dgm:constr type="w" for="ch" forName="Child2Accent2" refType="w" fact="0.0283"/>
                  <dgm:constr type="h" for="ch" forName="Child2Accent2" refType="h" fact="0.0518"/>
                  <dgm:constr type="l" for="ch" forName="Child2Accent4" refType="w" fact="0.1614"/>
                  <dgm:constr type="t" for="ch" forName="Child2Accent4" refType="h" fact="0.3937"/>
                  <dgm:constr type="w" for="ch" forName="Child2Accent4" refType="w" fact="0.0283"/>
                  <dgm:constr type="h" for="ch" forName="Child2Accent4" refType="h" fact="0.0518"/>
                  <dgm:constr type="l" for="ch" forName="Child2Accent5" refType="w" fact="0.1077"/>
                  <dgm:constr type="t" for="ch" forName="Child2Accent5" refType="h" fact="0.3937"/>
                  <dgm:constr type="w" for="ch" forName="Child2Accent5" refType="w" fact="0.0283"/>
                  <dgm:constr type="h" for="ch" forName="Child2Accent5" refType="h" fact="0.0518"/>
                  <dgm:constr type="l" for="ch" forName="Child2Accent6" refType="w" fact="0.0539"/>
                  <dgm:constr type="t" for="ch" forName="Child2Accent6" refType="h" fact="0.3937"/>
                  <dgm:constr type="w" for="ch" forName="Child2Accent6" refType="w" fact="0.0283"/>
                  <dgm:constr type="h" for="ch" forName="Child2Accent6" refType="h" fact="0.0518"/>
                  <dgm:constr type="l" for="ch" forName="Child2Accent7" refType="w" fact="0.0002"/>
                  <dgm:constr type="t" for="ch" forName="Child2Accent7" refType="h" fact="0.3937"/>
                  <dgm:constr type="w" for="ch" forName="Child2Accent7" refType="w" fact="0.0283"/>
                  <dgm:constr type="h" for="ch" forName="Child2Accent7" refType="h" fact="0.0518"/>
                  <dgm:constr type="l" for="ch" forName="Child2Accent3" refType="w" fact="0.2151"/>
                  <dgm:constr type="t" for="ch" forName="Child2Accent3" refType="h" fact="0.3937"/>
                  <dgm:constr type="w" for="ch" forName="Child2Accent3" refType="w" fact="0.0283"/>
                  <dgm:constr type="h" for="ch" forName="Child2Accent3" refType="h" fact="0.0518"/>
                  <dgm:constr type="l" for="ch" forName="ParentAccent1" refType="w" fact="0.9717"/>
                  <dgm:constr type="t" for="ch" forName="ParentAccent1" refType="h" fact="0.5316"/>
                  <dgm:constr type="w" for="ch" forName="ParentAccent1" refType="w" fact="0.0283"/>
                  <dgm:constr type="h" for="ch" forName="ParentAccent1" refType="h" fact="0.0518"/>
                  <dgm:constr type="l" for="ch" forName="ParentAccent2" refType="w" fact="0.9199"/>
                  <dgm:constr type="t" for="ch" forName="ParentAccent2" refType="h" fact="0.5316"/>
                  <dgm:constr type="w" for="ch" forName="ParentAccent2" refType="w" fact="0.0283"/>
                  <dgm:constr type="h" for="ch" forName="ParentAccent2" refType="h" fact="0.0518"/>
                  <dgm:constr type="l" for="ch" forName="ParentAccent3" refType="w" fact="0.8682"/>
                  <dgm:constr type="t" for="ch" forName="ParentAccent3" refType="h" fact="0.5316"/>
                  <dgm:constr type="w" for="ch" forName="ParentAccent3" refType="w" fact="0.0283"/>
                  <dgm:constr type="h" for="ch" forName="ParentAccent3" refType="h" fact="0.0518"/>
                  <dgm:constr type="l" for="ch" forName="ParentAccent4" refType="w" fact="0.8164"/>
                  <dgm:constr type="t" for="ch" forName="ParentAccent4" refType="h" fact="0.5316"/>
                  <dgm:constr type="w" for="ch" forName="ParentAccent4" refType="w" fact="0.0283"/>
                  <dgm:constr type="h" for="ch" forName="ParentAccent4" refType="h" fact="0.0518"/>
                  <dgm:constr type="l" for="ch" forName="ParentAccent5" refType="w" fact="0.7646"/>
                  <dgm:constr type="t" for="ch" forName="ParentAccent5" refType="h" fact="0.5316"/>
                  <dgm:constr type="w" for="ch" forName="ParentAccent5" refType="w" fact="0.0283"/>
                  <dgm:constr type="h" for="ch" forName="ParentAccent5" refType="h" fact="0.0518"/>
                  <dgm:constr type="l" for="ch" forName="ParentAccent6" refType="w" fact="0.6846"/>
                  <dgm:constr type="t" for="ch" forName="ParentAccent6" refType="h" fact="0.5057"/>
                  <dgm:constr type="w" for="ch" forName="ParentAccent6" refType="w" fact="0.0566"/>
                  <dgm:constr type="h" for="ch" forName="ParentAccent6" refType="h" fact="0.1035"/>
                  <dgm:constr type="l" for="ch" forName="ParentAccent7" refType="w" fact="0.9256"/>
                  <dgm:constr type="t" for="ch" forName="ParentAccent7" refType="h" fact="0.4247"/>
                  <dgm:constr type="w" for="ch" forName="ParentAccent7" refType="w" fact="0.0283"/>
                  <dgm:constr type="h" for="ch" forName="ParentAccent7" refType="h" fact="0.0518"/>
                  <dgm:constr type="l" for="ch" forName="ParentAccent8" refType="w" fact="0.9256"/>
                  <dgm:constr type="t" for="ch" forName="ParentAccent8" refType="h" fact="0.6392"/>
                  <dgm:constr type="w" for="ch" forName="ParentAccent8" refType="w" fact="0.0283"/>
                  <dgm:constr type="h" for="ch" forName="ParentAccent8" refType="h" fact="0.0518"/>
                  <dgm:constr type="l" for="ch" forName="ParentAccent9" refType="w" fact="0.9509"/>
                  <dgm:constr type="t" for="ch" forName="ParentAccent9" refType="h" fact="0.4712"/>
                  <dgm:constr type="w" for="ch" forName="ParentAccent9" refType="w" fact="0.0283"/>
                  <dgm:constr type="h" for="ch" forName="ParentAccent9" refType="h" fact="0.0518"/>
                  <dgm:constr type="l" for="ch" forName="ParentAccent10" refType="w" fact="0.9525"/>
                  <dgm:constr type="t" for="ch" forName="ParentAccent10" refType="h" fact="0.593"/>
                  <dgm:constr type="w" for="ch" forName="ParentAccent10" refType="w" fact="0.0283"/>
                  <dgm:constr type="h" for="ch" forName="ParentAccent10" refType="h" fact="0.0518"/>
                  <dgm:constr type="l" for="ch" forName="Child4" refType="w" fact="0.0081"/>
                  <dgm:constr type="t" for="ch" forName="Child4" refType="h" fact="0.8184"/>
                  <dgm:constr type="w" for="ch" forName="Child4" refType="w" fact="0.3192"/>
                  <dgm:constr type="h" for="ch" forName="Child4" refType="h" fact="0.1294"/>
                  <dgm:constr type="l" for="ch" forName="Child3" refType="w" fact="0"/>
                  <dgm:constr type="t" for="ch" forName="Child3" refType="h" fact="0.5547"/>
                  <dgm:constr type="w" for="ch" forName="Child3" refType="w" fact="0.297"/>
                  <dgm:constr type="h" for="ch" forName="Child3" refType="h" fact="0.1294"/>
                  <dgm:constr type="l" for="ch" forName="Child2" refType="w" fact="0"/>
                  <dgm:constr type="t" for="ch" forName="Child2" refType="h" fact="0.2662"/>
                  <dgm:constr type="w" for="ch" forName="Child2" refType="w" fact="0.297"/>
                  <dgm:constr type="h" for="ch" forName="Child2" refType="h" fact="0.1294"/>
                  <dgm:constr type="l" for="ch" forName="Child1" refType="w" fact="0.0081"/>
                  <dgm:constr type="t" for="ch" forName="Child1" refType="h" fact="0"/>
                  <dgm:constr type="w" for="ch" forName="Child1" refType="w" fact="0.3192"/>
                  <dgm:constr type="h" for="ch" forName="Child1" refType="h" fact="0.1294"/>
                </dgm:constrLst>
              </dgm:if>
              <dgm:else name="Name12">
                <dgm:alg type="composite">
                  <dgm:param type="ar" val="1.3278"/>
                </dgm:alg>
                <dgm:constrLst>
                  <dgm:constr type="l" for="ch" forName="Child2Accent1" refType="w" fact="0.3436"/>
                  <dgm:constr type="t" for="ch" forName="Child2Accent1" refType="h" fact="0.3184"/>
                  <dgm:constr type="w" for="ch" forName="Child2Accent1" refType="w" fact="0.0574"/>
                  <dgm:constr type="h" for="ch" forName="Child2Accent1" refType="h" fact="0.0763"/>
                  <dgm:constr type="l" for="ch" forName="Child2Accent2" refType="w" fact="0.3068"/>
                  <dgm:constr type="t" for="ch" forName="Child2Accent2" refType="h" fact="0.2781"/>
                  <dgm:constr type="w" for="ch" forName="Child2Accent2" refType="w" fact="0.0287"/>
                  <dgm:constr type="h" for="ch" forName="Child2Accent2" refType="h" fact="0.0381"/>
                  <dgm:constr type="l" for="ch" forName="Child2Accent3" refType="w" fact="0.2455"/>
                  <dgm:constr type="t" for="ch" forName="Child2Accent3" refType="h" fact="0.2781"/>
                  <dgm:constr type="w" for="ch" forName="Child2Accent3" refType="w" fact="0.0287"/>
                  <dgm:constr type="h" for="ch" forName="Child2Accent3" refType="h" fact="0.0381"/>
                  <dgm:constr type="l" for="ch" forName="Child2Accent4" refType="w" fact="0.1842"/>
                  <dgm:constr type="t" for="ch" forName="Child2Accent4" refType="h" fact="0.2781"/>
                  <dgm:constr type="w" for="ch" forName="Child2Accent4" refType="w" fact="0.0287"/>
                  <dgm:constr type="h" for="ch" forName="Child2Accent4" refType="h" fact="0.0381"/>
                  <dgm:constr type="l" for="ch" forName="Child2Accent5" refType="w" fact="0.1229"/>
                  <dgm:constr type="t" for="ch" forName="Child2Accent5" refType="h" fact="0.2781"/>
                  <dgm:constr type="w" for="ch" forName="Child2Accent5" refType="w" fact="0.0287"/>
                  <dgm:constr type="h" for="ch" forName="Child2Accent5" refType="h" fact="0.0381"/>
                  <dgm:constr type="l" for="ch" forName="Child3Accent1" refType="w" fact="0.284"/>
                  <dgm:constr type="t" for="ch" forName="Child3Accent1" refType="h" fact="0.5061"/>
                  <dgm:constr type="w" for="ch" forName="Child3Accent1" refType="w" fact="0.0574"/>
                  <dgm:constr type="h" for="ch" forName="Child3Accent1" refType="h" fact="0.0763"/>
                  <dgm:constr type="l" for="ch" forName="Child3Accent2" refType="w" fact="0.2272"/>
                  <dgm:constr type="t" for="ch" forName="Child3Accent2" refType="h" fact="0.5252"/>
                  <dgm:constr type="w" for="ch" forName="Child3Accent2" refType="w" fact="0.0287"/>
                  <dgm:constr type="h" for="ch" forName="Child3Accent2" refType="h" fact="0.0381"/>
                  <dgm:constr type="l" for="ch" forName="Child3Accent3" refType="w" fact="0.1705"/>
                  <dgm:constr type="t" for="ch" forName="Child3Accent3" refType="h" fact="0.5252"/>
                  <dgm:constr type="w" for="ch" forName="Child3Accent3" refType="w" fact="0.0287"/>
                  <dgm:constr type="h" for="ch" forName="Child3Accent3" refType="h" fact="0.0381"/>
                  <dgm:constr type="l" for="ch" forName="Child3Accent4" refType="w" fact="0.1137"/>
                  <dgm:constr type="t" for="ch" forName="Child3Accent4" refType="h" fact="0.5252"/>
                  <dgm:constr type="w" for="ch" forName="Child3Accent4" refType="w" fact="0.0287"/>
                  <dgm:constr type="h" for="ch" forName="Child3Accent4" refType="h" fact="0.0381"/>
                  <dgm:constr type="l" for="ch" forName="Child2Accent6" refType="w" fact="0.0615"/>
                  <dgm:constr type="t" for="ch" forName="Child2Accent6" refType="h" fact="0.2781"/>
                  <dgm:constr type="w" for="ch" forName="Child2Accent6" refType="w" fact="0.0287"/>
                  <dgm:constr type="h" for="ch" forName="Child2Accent6" refType="h" fact="0.0381"/>
                  <dgm:constr type="l" for="ch" forName="Child3Accent5" refType="w" fact="0.057"/>
                  <dgm:constr type="t" for="ch" forName="Child3Accent5" refType="h" fact="0.5252"/>
                  <dgm:constr type="w" for="ch" forName="Child3Accent5" refType="w" fact="0.0287"/>
                  <dgm:constr type="h" for="ch" forName="Child3Accent5" refType="h" fact="0.0381"/>
                  <dgm:constr type="l" for="ch" forName="Child2Accent7" refType="w" fact="0.0002"/>
                  <dgm:constr type="t" for="ch" forName="Child2Accent7" refType="h" fact="0.2781"/>
                  <dgm:constr type="w" for="ch" forName="Child2Accent7" refType="w" fact="0.0287"/>
                  <dgm:constr type="h" for="ch" forName="Child2Accent7" refType="h" fact="0.0381"/>
                  <dgm:constr type="l" for="ch" forName="Child3Accent6" refType="w" fact="0.0002"/>
                  <dgm:constr type="t" for="ch" forName="Child3Accent6" refType="h" fact="0.5252"/>
                  <dgm:constr type="w" for="ch" forName="Child3Accent6" refType="w" fact="0.0287"/>
                  <dgm:constr type="h" for="ch" forName="Child3Accent6" refType="h" fact="0.0381"/>
                  <dgm:constr type="l" for="ch" forName="Child3Accent7" refType="w" fact="0"/>
                  <dgm:constr type="t" for="ch" forName="Child3Accent7" refType="h" fact="0"/>
                  <dgm:constr type="w" for="ch" forName="Child3Accent7" refType="w" fact="0"/>
                  <dgm:constr type="h" for="ch" forName="Child3Accent7" refType="h" fact="0"/>
                  <dgm:constr type="l" for="ch" forName="Child4Accent1" refType="w" fact="0.3436"/>
                  <dgm:constr type="t" for="ch" forName="Child4Accent1" refType="h" fact="0.6908"/>
                  <dgm:constr type="w" for="ch" forName="Child4Accent1" refType="w" fact="0.0574"/>
                  <dgm:constr type="h" for="ch" forName="Child4Accent1" refType="h" fact="0.0763"/>
                  <dgm:constr type="l" for="ch" forName="Child4Accent2" refType="w" fact="0.3068"/>
                  <dgm:constr type="t" for="ch" forName="Child4Accent2" refType="h" fact="0.7684"/>
                  <dgm:constr type="w" for="ch" forName="Child4Accent2" refType="w" fact="0.0287"/>
                  <dgm:constr type="h" for="ch" forName="Child4Accent2" refType="h" fact="0.0381"/>
                  <dgm:constr type="l" for="ch" forName="Child4Accent3" refType="w" fact="0.2455"/>
                  <dgm:constr type="t" for="ch" forName="Child4Accent3" refType="h" fact="0.7684"/>
                  <dgm:constr type="w" for="ch" forName="Child4Accent3" refType="w" fact="0.0287"/>
                  <dgm:constr type="h" for="ch" forName="Child4Accent3" refType="h" fact="0.0381"/>
                  <dgm:constr type="l" for="ch" forName="Child4Accent4" refType="w" fact="0.1842"/>
                  <dgm:constr type="t" for="ch" forName="Child4Accent4" refType="h" fact="0.7684"/>
                  <dgm:constr type="w" for="ch" forName="Child4Accent4" refType="w" fact="0.0287"/>
                  <dgm:constr type="h" for="ch" forName="Child4Accent4" refType="h" fact="0.0381"/>
                  <dgm:constr type="l" for="ch" forName="Child4Accent5" refType="w" fact="0.1229"/>
                  <dgm:constr type="t" for="ch" forName="Child4Accent5" refType="h" fact="0.7684"/>
                  <dgm:constr type="w" for="ch" forName="Child4Accent5" refType="w" fact="0.0287"/>
                  <dgm:constr type="h" for="ch" forName="Child4Accent5" refType="h" fact="0.0381"/>
                  <dgm:constr type="l" for="ch" forName="Child4Accent6" refType="w" fact="0.0615"/>
                  <dgm:constr type="t" for="ch" forName="Child4Accent6" refType="h" fact="0.7684"/>
                  <dgm:constr type="w" for="ch" forName="Child4Accent6" refType="w" fact="0.0287"/>
                  <dgm:constr type="h" for="ch" forName="Child4Accent6" refType="h" fact="0.0381"/>
                  <dgm:constr type="l" for="ch" forName="Child4Accent7" refType="w" fact="0.0002"/>
                  <dgm:constr type="t" for="ch" forName="Child4Accent7" refType="h" fact="0.7684"/>
                  <dgm:constr type="w" for="ch" forName="Child4Accent7" refType="w" fact="0.0287"/>
                  <dgm:constr type="h" for="ch" forName="Child4Accent7" refType="h" fact="0.0381"/>
                  <dgm:constr type="l" for="ch" forName="Child4Accent8" refType="w" fact="0"/>
                  <dgm:constr type="t" for="ch" forName="Child4Accent8" refType="h" fact="0"/>
                  <dgm:constr type="w" for="ch" forName="Child4Accent8" refType="w" fact="0"/>
                  <dgm:constr type="h" for="ch" forName="Child4Accent8" refType="h" fact="0"/>
                  <dgm:constr type="l" for="ch" forName="ParentAccent1" refType="w" fact="0.9713"/>
                  <dgm:constr type="t" for="ch" forName="ParentAccent1" refType="h" fact="0.5252"/>
                  <dgm:constr type="w" for="ch" forName="ParentAccent1" refType="w" fact="0.0287"/>
                  <dgm:constr type="h" for="ch" forName="ParentAccent1" refType="h" fact="0.0381"/>
                  <dgm:constr type="l" for="ch" forName="ParentAccent2" refType="w" fact="0.9187"/>
                  <dgm:constr type="t" for="ch" forName="ParentAccent2" refType="h" fact="0.5252"/>
                  <dgm:constr type="w" for="ch" forName="ParentAccent2" refType="w" fact="0.0287"/>
                  <dgm:constr type="h" for="ch" forName="ParentAccent2" refType="h" fact="0.0381"/>
                  <dgm:constr type="l" for="ch" forName="ParentAccent3" refType="w" fact="0.8661"/>
                  <dgm:constr type="t" for="ch" forName="ParentAccent3" refType="h" fact="0.5252"/>
                  <dgm:constr type="w" for="ch" forName="ParentAccent3" refType="w" fact="0.0287"/>
                  <dgm:constr type="h" for="ch" forName="ParentAccent3" refType="h" fact="0.0381"/>
                  <dgm:constr type="l" for="ch" forName="ParentAccent4" refType="w" fact="0.8136"/>
                  <dgm:constr type="t" for="ch" forName="ParentAccent4" refType="h" fact="0.5252"/>
                  <dgm:constr type="w" for="ch" forName="ParentAccent4" refType="w" fact="0.0287"/>
                  <dgm:constr type="h" for="ch" forName="ParentAccent4" refType="h" fact="0.0381"/>
                  <dgm:constr type="l" for="ch" forName="ParentAccent5" refType="w" fact="0.761"/>
                  <dgm:constr type="t" for="ch" forName="ParentAccent5" refType="h" fact="0.5252"/>
                  <dgm:constr type="w" for="ch" forName="ParentAccent5" refType="w" fact="0.0287"/>
                  <dgm:constr type="h" for="ch" forName="ParentAccent5" refType="h" fact="0.0381"/>
                  <dgm:constr type="l" for="ch" forName="ParentAccent6" refType="w" fact="0.6797"/>
                  <dgm:constr type="t" for="ch" forName="ParentAccent6" refType="h" fact="0.5061"/>
                  <dgm:constr type="w" for="ch" forName="ParentAccent6" refType="w" fact="0.0574"/>
                  <dgm:constr type="h" for="ch" forName="ParentAccent6" refType="h" fact="0.0763"/>
                  <dgm:constr type="l" for="ch" forName="ParentAccent7" refType="w" fact="0.9245"/>
                  <dgm:constr type="t" for="ch" forName="ParentAccent7" refType="h" fact="0.4464"/>
                  <dgm:constr type="w" for="ch" forName="ParentAccent7" refType="w" fact="0.0287"/>
                  <dgm:constr type="h" for="ch" forName="ParentAccent7" refType="h" fact="0.0381"/>
                  <dgm:constr type="l" for="ch" forName="ParentAccent8" refType="w" fact="0.9245"/>
                  <dgm:constr type="t" for="ch" forName="ParentAccent8" refType="h" fact="0.6045"/>
                  <dgm:constr type="w" for="ch" forName="ParentAccent8" refType="w" fact="0.0287"/>
                  <dgm:constr type="h" for="ch" forName="ParentAccent8" refType="h" fact="0.0381"/>
                  <dgm:constr type="l" for="ch" forName="ParentAccent9" refType="w" fact="0.9501"/>
                  <dgm:constr type="t" for="ch" forName="ParentAccent9" refType="h" fact="0.4807"/>
                  <dgm:constr type="w" for="ch" forName="ParentAccent9" refType="w" fact="0.0287"/>
                  <dgm:constr type="h" for="ch" forName="ParentAccent9" refType="h" fact="0.0381"/>
                  <dgm:constr type="l" for="ch" forName="ParentAccent10" refType="w" fact="0.9518"/>
                  <dgm:constr type="t" for="ch" forName="ParentAccent10" refType="h" fact="0.5705"/>
                  <dgm:constr type="w" for="ch" forName="ParentAccent10" refType="w" fact="0.0287"/>
                  <dgm:constr type="h" for="ch" forName="ParentAccent10" refType="h" fact="0.0381"/>
                  <dgm:constr type="l" for="ch" forName="Child1Accent1" refType="w" fact="0.4819"/>
                  <dgm:constr type="t" for="ch" forName="Child1Accent1" refType="h" fact="0.2457"/>
                  <dgm:constr type="w" for="ch" forName="Child1Accent1" refType="w" fact="0.0574"/>
                  <dgm:constr type="h" for="ch" forName="Child1Accent1" refType="h" fact="0.0763"/>
                  <dgm:constr type="l" for="ch" forName="Child1Accent4" refType="w" fact="0.3653"/>
                  <dgm:constr type="t" for="ch" forName="Child1Accent4" refType="h" fact="0.097"/>
                  <dgm:constr type="w" for="ch" forName="Child1Accent4" refType="w" fact="0.0287"/>
                  <dgm:constr type="h" for="ch" forName="Child1Accent4" refType="h" fact="0.0381"/>
                  <dgm:constr type="l" for="ch" forName="Child1Accent5" refType="w" fact="0.304"/>
                  <dgm:constr type="t" for="ch" forName="Child1Accent5" refType="h" fact="0.097"/>
                  <dgm:constr type="w" for="ch" forName="Child1Accent5" refType="w" fact="0.0287"/>
                  <dgm:constr type="h" for="ch" forName="Child1Accent5" refType="h" fact="0.0381"/>
                  <dgm:constr type="l" for="ch" forName="Child1Accent6" refType="w" fact="0.2426"/>
                  <dgm:constr type="t" for="ch" forName="Child1Accent6" refType="h" fact="0.097"/>
                  <dgm:constr type="w" for="ch" forName="Child1Accent6" refType="w" fact="0.0287"/>
                  <dgm:constr type="h" for="ch" forName="Child1Accent6" refType="h" fact="0.0381"/>
                  <dgm:constr type="l" for="ch" forName="Child1Accent7" refType="w" fact="0.1813"/>
                  <dgm:constr type="t" for="ch" forName="Child1Accent7" refType="h" fact="0.097"/>
                  <dgm:constr type="w" for="ch" forName="Child1Accent7" refType="w" fact="0.0287"/>
                  <dgm:constr type="h" for="ch" forName="Child1Accent7" refType="h" fact="0.0381"/>
                  <dgm:constr type="l" for="ch" forName="Child1Accent8" refType="w" fact="0.12"/>
                  <dgm:constr type="t" for="ch" forName="Child1Accent8" refType="h" fact="0.097"/>
                  <dgm:constr type="w" for="ch" forName="Child1Accent8" refType="w" fact="0.0287"/>
                  <dgm:constr type="h" for="ch" forName="Child1Accent8" refType="h" fact="0.0381"/>
                  <dgm:constr type="l" for="ch" forName="Child1Accent9" refType="w" fact="0.0587"/>
                  <dgm:constr type="t" for="ch" forName="Child1Accent9" refType="h" fact="0.097"/>
                  <dgm:constr type="w" for="ch" forName="Child1Accent9" refType="w" fact="0.0287"/>
                  <dgm:constr type="h" for="ch" forName="Child1Accent9" refType="h" fact="0.0381"/>
                  <dgm:constr type="l" for="ch" forName="Child5Accent1" refType="w" fact="0.4819"/>
                  <dgm:constr type="t" for="ch" forName="Child5Accent1" refType="h" fact="0.7601"/>
                  <dgm:constr type="w" for="ch" forName="Child5Accent1" refType="w" fact="0.0574"/>
                  <dgm:constr type="h" for="ch" forName="Child5Accent1" refType="h" fact="0.0763"/>
                  <dgm:constr type="l" for="ch" forName="Child5Accent4" refType="w" fact="0.3653"/>
                  <dgm:constr type="t" for="ch" forName="Child5Accent4" refType="h" fact="0.9619"/>
                  <dgm:constr type="w" for="ch" forName="Child5Accent4" refType="w" fact="0.0287"/>
                  <dgm:constr type="h" for="ch" forName="Child5Accent4" refType="h" fact="0.0381"/>
                  <dgm:constr type="l" for="ch" forName="Child5Accent5" refType="w" fact="0.304"/>
                  <dgm:constr type="t" for="ch" forName="Child5Accent5" refType="h" fact="0.9619"/>
                  <dgm:constr type="w" for="ch" forName="Child5Accent5" refType="w" fact="0.0287"/>
                  <dgm:constr type="h" for="ch" forName="Child5Accent5" refType="h" fact="0.0381"/>
                  <dgm:constr type="l" for="ch" forName="Child5Accent6" refType="w" fact="0.2426"/>
                  <dgm:constr type="t" for="ch" forName="Child5Accent6" refType="h" fact="0.9619"/>
                  <dgm:constr type="w" for="ch" forName="Child5Accent6" refType="w" fact="0.0287"/>
                  <dgm:constr type="h" for="ch" forName="Child5Accent6" refType="h" fact="0.0381"/>
                  <dgm:constr type="l" for="ch" forName="Child5Accent7" refType="w" fact="0.1813"/>
                  <dgm:constr type="t" for="ch" forName="Child5Accent7" refType="h" fact="0.9619"/>
                  <dgm:constr type="w" for="ch" forName="Child5Accent7" refType="w" fact="0.0287"/>
                  <dgm:constr type="h" for="ch" forName="Child5Accent7" refType="h" fact="0.0381"/>
                  <dgm:constr type="l" for="ch" forName="Child5Accent8" refType="w" fact="0.12"/>
                  <dgm:constr type="t" for="ch" forName="Child5Accent8" refType="h" fact="0.9619"/>
                  <dgm:constr type="w" for="ch" forName="Child5Accent8" refType="w" fact="0.0287"/>
                  <dgm:constr type="h" for="ch" forName="Child5Accent8" refType="h" fact="0.0381"/>
                  <dgm:constr type="l" for="ch" forName="Child5Accent9" refType="w" fact="0.0587"/>
                  <dgm:constr type="t" for="ch" forName="Child5Accent9" refType="h" fact="0.9619"/>
                  <dgm:constr type="w" for="ch" forName="Child5Accent9" refType="w" fact="0.0287"/>
                  <dgm:constr type="h" for="ch" forName="Child5Accent9" refType="h" fact="0.0381"/>
                  <dgm:constr type="l" for="ch" forName="Child5Accent2" refType="w" fact="0.453"/>
                  <dgm:constr type="t" for="ch" forName="Child5Accent2" refType="h" fact="0.8375"/>
                  <dgm:constr type="w" for="ch" forName="Child5Accent2" refType="w" fact="0.0287"/>
                  <dgm:constr type="h" for="ch" forName="Child5Accent2" refType="h" fact="0.0381"/>
                  <dgm:constr type="l" for="ch" forName="Child5Accent3" refType="w" fact="0.4118"/>
                  <dgm:constr type="t" for="ch" forName="Child5Accent3" refType="h" fact="0.8991"/>
                  <dgm:constr type="w" for="ch" forName="Child5Accent3" refType="w" fact="0.0287"/>
                  <dgm:constr type="h" for="ch" forName="Child5Accent3" refType="h" fact="0.0381"/>
                  <dgm:constr type="l" for="ch" forName="Child1Accent2" refType="w" fact="0.4458"/>
                  <dgm:constr type="t" for="ch" forName="Child1Accent2" refType="h" fact="0.2004"/>
                  <dgm:constr type="w" for="ch" forName="Child1Accent2" refType="w" fact="0.0287"/>
                  <dgm:constr type="h" for="ch" forName="Child1Accent2" refType="h" fact="0.0381"/>
                  <dgm:constr type="l" for="ch" forName="Child1Accent3" refType="w" fact="0.4054"/>
                  <dgm:constr type="t" for="ch" forName="Child1Accent3" refType="h" fact="0.1445"/>
                  <dgm:constr type="w" for="ch" forName="Child1Accent3" refType="w" fact="0.0287"/>
                  <dgm:constr type="h" for="ch" forName="Child1Accent3" refType="h" fact="0.0381"/>
                  <dgm:constr type="l" for="ch" forName="Child5" refType="w" fact="0.0581"/>
                  <dgm:constr type="t" for="ch" forName="Child5" refType="h" fact="0.8635"/>
                  <dgm:constr type="w" for="ch" forName="Child5" refType="w" fact="0.3364"/>
                  <dgm:constr type="h" for="ch" forName="Child5" refType="h" fact="0.0981"/>
                  <dgm:constr type="l" for="ch" forName="Child4" refType="w" fact="0"/>
                  <dgm:constr type="t" for="ch" forName="Child4" refType="h" fact="0.6701"/>
                  <dgm:constr type="w" for="ch" forName="Child4" refType="w" fact="0.3364"/>
                  <dgm:constr type="h" for="ch" forName="Child4" refType="h" fact="0.0981"/>
                  <dgm:constr type="l" for="ch" forName="Child3" refType="w" fact="0"/>
                  <dgm:constr type="t" for="ch" forName="Child3" refType="h" fact="0.4276"/>
                  <dgm:constr type="w" for="ch" forName="Child3" refType="w" fact="0.2544"/>
                  <dgm:constr type="h" for="ch" forName="Child3" refType="h" fact="0.0981"/>
                  <dgm:constr type="l" for="ch" forName="Child2" refType="w" fact="0"/>
                  <dgm:constr type="t" for="ch" forName="Child2" refType="h" fact="0.1798"/>
                  <dgm:constr type="w" for="ch" forName="Child2" refType="w" fact="0.3364"/>
                  <dgm:constr type="h" for="ch" forName="Child2" refType="h" fact="0.0981"/>
                  <dgm:constr type="l" for="ch" forName="Child1" refType="w" fact="0.0581"/>
                  <dgm:constr type="t" for="ch" forName="Child1" refType="h" fact="0"/>
                  <dgm:constr type="w" for="ch" forName="Child1" refType="w" fact="0.3364"/>
                  <dgm:constr type="h" for="ch" forName="Child1" refType="h" fact="0.0981"/>
                  <dgm:constr type="l" for="ch" forName="Parent" refType="w" fact="0.3653"/>
                  <dgm:constr type="t" for="ch" forName="Parent" refType="h" fact="0.3513"/>
                  <dgm:constr type="w" for="ch" forName="Parent" refType="w" fact="0.2906"/>
                  <dgm:constr type="h" for="ch" forName="Parent" refType="h" fact="0.3859"/>
                </dgm:constrLst>
              </dgm:else>
            </dgm:choose>
          </dgm:if>
          <dgm:else name="Name13">
            <dgm:choose name="Name14">
              <dgm:if name="Name15" axis="ch" ptType="node" func="cnt" op="equ" val="0">
                <dgm:alg type="composite">
                  <dgm:param type="ar" val="2.1059"/>
                </dgm:alg>
                <dgm:constrLst>
                  <dgm:constr type="r" for="ch" forName="Parent" refType="w"/>
                  <dgm:constr type="t" for="ch" forName="Parent" refType="h" fact="0"/>
                  <dgm:constr type="w" for="ch" forName="Parent" refType="w" fact="0.4749"/>
                  <dgm:constr type="h" for="ch" forName="Parent" refType="h"/>
                  <dgm:constr type="r" for="ch" forName="ParentAccent1" refType="w" fact="0.0469"/>
                  <dgm:constr type="t" for="ch" forName="ParentAccent1" refType="h" fact="0.4506"/>
                  <dgm:constr type="w" for="ch" forName="ParentAccent1" refType="w" fact="0.0469"/>
                  <dgm:constr type="h" for="ch" forName="ParentAccent1" refType="h" fact="0.0988"/>
                  <dgm:constr type="r" for="ch" forName="ParentAccent2" refType="w" fact="0.1266"/>
                  <dgm:constr type="t" for="ch" forName="ParentAccent2" refType="h" fact="0.4506"/>
                  <dgm:constr type="w" for="ch" forName="ParentAccent2" refType="w" fact="0.0469"/>
                  <dgm:constr type="h" for="ch" forName="ParentAccent2" refType="h" fact="0.0988"/>
                  <dgm:constr type="r" for="ch" forName="ParentAccent3" refType="w" fact="0.2063"/>
                  <dgm:constr type="t" for="ch" forName="ParentAccent3" refType="h" fact="0.4506"/>
                  <dgm:constr type="w" for="ch" forName="ParentAccent3" refType="w" fact="0.0469"/>
                  <dgm:constr type="h" for="ch" forName="ParentAccent3" refType="h" fact="0.0988"/>
                  <dgm:constr type="r" for="ch" forName="ParentAccent4" refType="w" fact="0.286"/>
                  <dgm:constr type="t" for="ch" forName="ParentAccent4" refType="h" fact="0.4506"/>
                  <dgm:constr type="w" for="ch" forName="ParentAccent4" refType="w" fact="0.0469"/>
                  <dgm:constr type="h" for="ch" forName="ParentAccent4" refType="h" fact="0.0988"/>
                  <dgm:constr type="r" for="ch" forName="ParentAccent5" refType="w" fact="0.3657"/>
                  <dgm:constr type="t" for="ch" forName="ParentAccent5" refType="h" fact="0.4506"/>
                  <dgm:constr type="w" for="ch" forName="ParentAccent5" refType="w" fact="0.0469"/>
                  <dgm:constr type="h" for="ch" forName="ParentAccent5" refType="h" fact="0.0988"/>
                  <dgm:constr type="r" for="ch" forName="ParentAccent6" refType="w" fact="0.4924"/>
                  <dgm:constr type="t" for="ch" forName="ParentAccent6" refType="h" fact="0.4012"/>
                  <dgm:constr type="w" for="ch" forName="ParentAccent6" refType="w" fact="0.0939"/>
                  <dgm:constr type="h" for="ch" forName="ParentAccent6" refType="h" fact="0.1976"/>
                  <dgm:constr type="r" for="ch" forName="ParentAccent7" refType="w" fact="0.1234"/>
                  <dgm:constr type="t" for="ch" forName="ParentAccent7" refType="h" fact="0.2465"/>
                  <dgm:constr type="w" for="ch" forName="ParentAccent7" refType="w" fact="0.0469"/>
                  <dgm:constr type="h" for="ch" forName="ParentAccent7" refType="h" fact="0.0988"/>
                  <dgm:constr type="r" for="ch" forName="ParentAccent8" refType="w" fact="0.1234"/>
                  <dgm:constr type="t" for="ch" forName="ParentAccent8" refType="h" fact="0.6562"/>
                  <dgm:constr type="w" for="ch" forName="ParentAccent8" refType="w" fact="0.0469"/>
                  <dgm:constr type="h" for="ch" forName="ParentAccent8" refType="h" fact="0.0988"/>
                  <dgm:constr type="r" for="ch" forName="ParentAccent9" refType="w" fact="0.0815"/>
                  <dgm:constr type="t" for="ch" forName="ParentAccent9" refType="h" fact="0.3353"/>
                  <dgm:constr type="w" for="ch" forName="ParentAccent9" refType="w" fact="0.0469"/>
                  <dgm:constr type="h" for="ch" forName="ParentAccent9" refType="h" fact="0.0988"/>
                  <dgm:constr type="r" for="ch" forName="ParentAccent10" refType="w" fact="0.0787"/>
                  <dgm:constr type="t" for="ch" forName="ParentAccent10" refType="h" fact="0.5679"/>
                  <dgm:constr type="w" for="ch" forName="ParentAccent10" refType="w" fact="0.0469"/>
                  <dgm:constr type="h" for="ch" forName="ParentAccent10" refType="h" fact="0.0988"/>
                </dgm:constrLst>
              </dgm:if>
              <dgm:if name="Name16" axis="ch" ptType="node" func="cnt" op="equ" val="1">
                <dgm:alg type="composite">
                  <dgm:param type="ar" val="3.4411"/>
                </dgm:alg>
                <dgm:constrLst>
                  <dgm:constr type="primFontSz" for="des" forName="Child1" val="65"/>
                  <dgm:constr type="primFontSz" for="des" forName="Child1" refType="primFontSz" refFor="des" refForName="Parent" op="lte"/>
                  <dgm:constr type="r" for="ch" forName="Child1Accent1" refType="w" fact="0.716"/>
                  <dgm:constr type="t" for="ch" forName="Child1Accent1" refType="h" fact="0.4012"/>
                  <dgm:constr type="w" for="ch" forName="Child1Accent1" refType="w" fact="0.0574"/>
                  <dgm:constr type="h" for="ch" forName="Child1Accent1" refType="h" fact="0.1976"/>
                  <dgm:constr type="r" for="ch" forName="Child1Accent2" refType="w" fact="0.7728"/>
                  <dgm:constr type="t" for="ch" forName="Child1Accent2" refType="h" fact="0.4506"/>
                  <dgm:constr type="w" for="ch" forName="Child1Accent2" refType="w" fact="0.0287"/>
                  <dgm:constr type="h" for="ch" forName="Child1Accent2" refType="h" fact="0.0988"/>
                  <dgm:constr type="r" for="ch" forName="Child1Accent3" refType="w" fact="0.8295"/>
                  <dgm:constr type="t" for="ch" forName="Child1Accent3" refType="h" fact="0.4506"/>
                  <dgm:constr type="w" for="ch" forName="Child1Accent3" refType="w" fact="0.0287"/>
                  <dgm:constr type="h" for="ch" forName="Child1Accent3" refType="h" fact="0.0988"/>
                  <dgm:constr type="r" for="ch" forName="Child1Accent4" refType="w" fact="0.8863"/>
                  <dgm:constr type="t" for="ch" forName="Child1Accent4" refType="h" fact="0.4506"/>
                  <dgm:constr type="w" for="ch" forName="Child1Accent4" refType="w" fact="0.0287"/>
                  <dgm:constr type="h" for="ch" forName="Child1Accent4" refType="h" fact="0.0988"/>
                  <dgm:constr type="r" for="ch" forName="Child1Accent5" refType="w" fact="0.943"/>
                  <dgm:constr type="t" for="ch" forName="Child1Accent5" refType="h" fact="0.4506"/>
                  <dgm:constr type="w" for="ch" forName="Child1Accent5" refType="w" fact="0.0287"/>
                  <dgm:constr type="h" for="ch" forName="Child1Accent5" refType="h" fact="0.0988"/>
                  <dgm:constr type="r" for="ch" forName="Child1Accent6" refType="w" fact="0.9998"/>
                  <dgm:constr type="t" for="ch" forName="Child1Accent6" refType="h" fact="0.4506"/>
                  <dgm:constr type="w" for="ch" forName="Child1Accent6" refType="w" fact="0.0287"/>
                  <dgm:constr type="h" for="ch" forName="Child1Accent6" refType="h" fact="0.0988"/>
                  <dgm:constr type="l" for="ch" forName="Child1Accent7" refType="w" fact="0"/>
                  <dgm:constr type="t" for="ch" forName="Child1Accent7" refType="h" fact="0"/>
                  <dgm:constr type="w" for="ch" forName="Child1Accent7" refType="w" fact="0"/>
                  <dgm:constr type="h" for="ch" forName="Child1Accent7" refType="h" fact="0"/>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r" for="ch" forName="ParentAccent1" refType="w" fact="0.0287"/>
                  <dgm:constr type="t" for="ch" forName="ParentAccent1" refType="h" fact="0.4506"/>
                  <dgm:constr type="w" for="ch" forName="ParentAccent1" refType="w" fact="0.0287"/>
                  <dgm:constr type="h" for="ch" forName="ParentAccent1" refType="h" fact="0.0988"/>
                  <dgm:constr type="r" for="ch" forName="ParentAccent2" refType="w" fact="0.0813"/>
                  <dgm:constr type="t" for="ch" forName="ParentAccent2" refType="h" fact="0.4506"/>
                  <dgm:constr type="w" for="ch" forName="ParentAccent2" refType="w" fact="0.0287"/>
                  <dgm:constr type="h" for="ch" forName="ParentAccent2" refType="h" fact="0.0988"/>
                  <dgm:constr type="r" for="ch" forName="ParentAccent3" refType="w" fact="0.1339"/>
                  <dgm:constr type="t" for="ch" forName="ParentAccent3" refType="h" fact="0.4506"/>
                  <dgm:constr type="w" for="ch" forName="ParentAccent3" refType="w" fact="0.0287"/>
                  <dgm:constr type="h" for="ch" forName="ParentAccent3" refType="h" fact="0.0988"/>
                  <dgm:constr type="r" for="ch" forName="ParentAccent4" refType="w" fact="0.1864"/>
                  <dgm:constr type="t" for="ch" forName="ParentAccent4" refType="h" fact="0.4506"/>
                  <dgm:constr type="w" for="ch" forName="ParentAccent4" refType="w" fact="0.0287"/>
                  <dgm:constr type="h" for="ch" forName="ParentAccent4" refType="h" fact="0.0988"/>
                  <dgm:constr type="r" for="ch" forName="ParentAccent5" refType="w" fact="0.239"/>
                  <dgm:constr type="t" for="ch" forName="ParentAccent5" refType="h" fact="0.4506"/>
                  <dgm:constr type="w" for="ch" forName="ParentAccent5" refType="w" fact="0.0287"/>
                  <dgm:constr type="h" for="ch" forName="ParentAccent5" refType="h" fact="0.0988"/>
                  <dgm:constr type="r" for="ch" forName="ParentAccent6" refType="w" fact="0.3203"/>
                  <dgm:constr type="t" for="ch" forName="ParentAccent6" refType="h" fact="0.4012"/>
                  <dgm:constr type="w" for="ch" forName="ParentAccent6" refType="w" fact="0.0574"/>
                  <dgm:constr type="h" for="ch" forName="ParentAccent6" refType="h" fact="0.1976"/>
                  <dgm:constr type="r" for="ch" forName="ParentAccent7" refType="w" fact="0.0755"/>
                  <dgm:constr type="t" for="ch" forName="ParentAccent7" refType="h" fact="0.2465"/>
                  <dgm:constr type="w" for="ch" forName="ParentAccent7" refType="w" fact="0.0287"/>
                  <dgm:constr type="h" for="ch" forName="ParentAccent7" refType="h" fact="0.0988"/>
                  <dgm:constr type="r" for="ch" forName="ParentAccent8" refType="w" fact="0.0755"/>
                  <dgm:constr type="t" for="ch" forName="ParentAccent8" refType="h" fact="0.6562"/>
                  <dgm:constr type="w" for="ch" forName="ParentAccent8" refType="w" fact="0.0287"/>
                  <dgm:constr type="h" for="ch" forName="ParentAccent8" refType="h" fact="0.0988"/>
                  <dgm:constr type="r" for="ch" forName="ParentAccent9" refType="w" fact="0.0499"/>
                  <dgm:constr type="t" for="ch" forName="ParentAccent9" refType="h" fact="0.3353"/>
                  <dgm:constr type="w" for="ch" forName="ParentAccent9" refType="w" fact="0.0287"/>
                  <dgm:constr type="h" for="ch" forName="ParentAccent9" refType="h" fact="0.0988"/>
                  <dgm:constr type="r" for="ch" forName="ParentAccent10" refType="w" fact="0.0482"/>
                  <dgm:constr type="t" for="ch" forName="ParentAccent10" refType="h" fact="0.5679"/>
                  <dgm:constr type="w" for="ch" forName="ParentAccent10" refType="w" fact="0.0287"/>
                  <dgm:constr type="h" for="ch" forName="ParentAccent10" refType="h" fact="0.0988"/>
                  <dgm:constr type="r" for="ch" forName="Child1" refType="w"/>
                  <dgm:constr type="t" for="ch" forName="Child1" refType="h" fact="0.1978"/>
                  <dgm:constr type="w" for="ch" forName="Child1" refType="w" fact="0.2544"/>
                  <dgm:constr type="h" for="ch" forName="Child1" refType="h" fact="0.2541"/>
                  <dgm:constr type="r" for="ch" forName="Parent" refType="w" fact="0.6347"/>
                  <dgm:constr type="t" for="ch" forName="Parent" refType="h" fact="0"/>
                  <dgm:constr type="w" for="ch" forName="Parent" refType="w" fact="0.2906"/>
                  <dgm:constr type="h" for="ch" forName="Parent" refType="h"/>
                </dgm:constrLst>
              </dgm:if>
              <dgm:if name="Name17" axis="ch" ptType="node" func="cnt" op="equ" val="2">
                <dgm:alg type="composite">
                  <dgm:param type="ar" val="2.1185"/>
                </dgm:alg>
                <dgm:constrLst>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Child1Accent1" refType="w" fact="0.6564"/>
                  <dgm:constr type="t" for="ch" forName="Child1Accent1" refType="h" fact="0.2211"/>
                  <dgm:constr type="w" for="ch" forName="Child1Accent1" refType="w" fact="0.0574"/>
                  <dgm:constr type="h" for="ch" forName="Child1Accent1" refType="h" fact="0.1217"/>
                  <dgm:constr type="r" for="ch" forName="Child1Accent2" refType="w" fact="0.6932"/>
                  <dgm:constr type="t" for="ch" forName="Child1Accent2" refType="h" fact="0.1569"/>
                  <dgm:constr type="w" for="ch" forName="Child1Accent2" refType="w" fact="0.0287"/>
                  <dgm:constr type="h" for="ch" forName="Child1Accent2" refType="h" fact="0.0608"/>
                  <dgm:constr type="r" for="ch" forName="Child1Accent3" refType="w" fact="0.7545"/>
                  <dgm:constr type="t" for="ch" forName="Child1Accent3" refType="h" fact="0.1569"/>
                  <dgm:constr type="w" for="ch" forName="Child1Accent3" refType="w" fact="0.0287"/>
                  <dgm:constr type="h" for="ch" forName="Child1Accent3" refType="h" fact="0.0608"/>
                  <dgm:constr type="r" for="ch" forName="Child1Accent4" refType="w" fact="0.8158"/>
                  <dgm:constr type="t" for="ch" forName="Child1Accent4" refType="h" fact="0.1569"/>
                  <dgm:constr type="w" for="ch" forName="Child1Accent4" refType="w" fact="0.0287"/>
                  <dgm:constr type="h" for="ch" forName="Child1Accent4" refType="h" fact="0.0608"/>
                  <dgm:constr type="r" for="ch" forName="Child1Accent5" refType="w" fact="0.8771"/>
                  <dgm:constr type="t" for="ch" forName="Child1Accent5" refType="h" fact="0.1569"/>
                  <dgm:constr type="w" for="ch" forName="Child1Accent5" refType="w" fact="0.0287"/>
                  <dgm:constr type="h" for="ch" forName="Child1Accent5" refType="h" fact="0.0608"/>
                  <dgm:constr type="r" for="ch" forName="Child1Accent6" refType="w" fact="0.9385"/>
                  <dgm:constr type="t" for="ch" forName="Child1Accent6" refType="h" fact="0.1569"/>
                  <dgm:constr type="w" for="ch" forName="Child1Accent6" refType="w" fact="0.0287"/>
                  <dgm:constr type="h" for="ch" forName="Child1Accent6" refType="h" fact="0.0608"/>
                  <dgm:constr type="r" for="ch" forName="Child1Accent7" refType="w" fact="0.9998"/>
                  <dgm:constr type="t" for="ch" forName="Child1Accent7" refType="h" fact="0.1569"/>
                  <dgm:constr type="w" for="ch" forName="Child1Accent7" refType="w" fact="0.0287"/>
                  <dgm:constr type="h" for="ch" forName="Child1Accent7" refType="h" fact="0.0608"/>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r" for="ch" forName="Child2Accent1" refType="w" fact="0.6564"/>
                  <dgm:constr type="t" for="ch" forName="Child2Accent1" refType="h" fact="0.8153"/>
                  <dgm:constr type="w" for="ch" forName="Child2Accent1" refType="w" fact="0.0574"/>
                  <dgm:constr type="h" for="ch" forName="Child2Accent1" refType="h" fact="0.1217"/>
                  <dgm:constr type="r" for="ch" forName="Child2Accent2" refType="w" fact="0.6932"/>
                  <dgm:constr type="t" for="ch" forName="Child2Accent2" refType="h" fact="0.9392"/>
                  <dgm:constr type="w" for="ch" forName="Child2Accent2" refType="w" fact="0.0287"/>
                  <dgm:constr type="h" for="ch" forName="Child2Accent2" refType="h" fact="0.0608"/>
                  <dgm:constr type="r" for="ch" forName="Child2Accent3" refType="w" fact="0.7545"/>
                  <dgm:constr type="t" for="ch" forName="Child2Accent3" refType="h" fact="0.9392"/>
                  <dgm:constr type="w" for="ch" forName="Child2Accent3" refType="w" fact="0.0287"/>
                  <dgm:constr type="h" for="ch" forName="Child2Accent3" refType="h" fact="0.0608"/>
                  <dgm:constr type="r" for="ch" forName="Child2Accent4" refType="w" fact="0.8158"/>
                  <dgm:constr type="t" for="ch" forName="Child2Accent4" refType="h" fact="0.9392"/>
                  <dgm:constr type="w" for="ch" forName="Child2Accent4" refType="w" fact="0.0287"/>
                  <dgm:constr type="h" for="ch" forName="Child2Accent4" refType="h" fact="0.0608"/>
                  <dgm:constr type="r" for="ch" forName="Child2Accent5" refType="w" fact="0.8771"/>
                  <dgm:constr type="t" for="ch" forName="Child2Accent5" refType="h" fact="0.9392"/>
                  <dgm:constr type="w" for="ch" forName="Child2Accent5" refType="w" fact="0.0287"/>
                  <dgm:constr type="h" for="ch" forName="Child2Accent5" refType="h" fact="0.0608"/>
                  <dgm:constr type="r" for="ch" forName="Child2Accent6" refType="w" fact="0.9385"/>
                  <dgm:constr type="t" for="ch" forName="Child2Accent6" refType="h" fact="0.9392"/>
                  <dgm:constr type="w" for="ch" forName="Child2Accent6" refType="w" fact="0.0287"/>
                  <dgm:constr type="h" for="ch" forName="Child2Accent6" refType="h" fact="0.0608"/>
                  <dgm:constr type="r" for="ch" forName="Child2Accent7" refType="w" fact="0.9998"/>
                  <dgm:constr type="t" for="ch" forName="Child2Accent7" refType="h" fact="0.9392"/>
                  <dgm:constr type="w" for="ch" forName="Child2Accent7" refType="w" fact="0.0287"/>
                  <dgm:constr type="h" for="ch" forName="Child2Accent7" refType="h" fact="0.0608"/>
                  <dgm:constr type="r" for="ch" forName="ParentAccent1" refType="w" fact="0.0287"/>
                  <dgm:constr type="t" for="ch" forName="ParentAccent1" refType="h" fact="0.5511"/>
                  <dgm:constr type="w" for="ch" forName="ParentAccent1" refType="w" fact="0.0287"/>
                  <dgm:constr type="h" for="ch" forName="ParentAccent1" refType="h" fact="0.0608"/>
                  <dgm:constr type="r" for="ch" forName="ParentAccent2" refType="w" fact="0.0813"/>
                  <dgm:constr type="t" for="ch" forName="ParentAccent2" refType="h" fact="0.5511"/>
                  <dgm:constr type="w" for="ch" forName="ParentAccent2" refType="w" fact="0.0287"/>
                  <dgm:constr type="h" for="ch" forName="ParentAccent2" refType="h" fact="0.0608"/>
                  <dgm:constr type="r" for="ch" forName="ParentAccent3" refType="w" fact="0.1339"/>
                  <dgm:constr type="t" for="ch" forName="ParentAccent3" refType="h" fact="0.5511"/>
                  <dgm:constr type="w" for="ch" forName="ParentAccent3" refType="w" fact="0.0287"/>
                  <dgm:constr type="h" for="ch" forName="ParentAccent3" refType="h" fact="0.0608"/>
                  <dgm:constr type="r" for="ch" forName="ParentAccent4" refType="w" fact="0.1864"/>
                  <dgm:constr type="t" for="ch" forName="ParentAccent4" refType="h" fact="0.5511"/>
                  <dgm:constr type="w" for="ch" forName="ParentAccent4" refType="w" fact="0.0287"/>
                  <dgm:constr type="h" for="ch" forName="ParentAccent4" refType="h" fact="0.0608"/>
                  <dgm:constr type="r" for="ch" forName="ParentAccent5" refType="w" fact="0.239"/>
                  <dgm:constr type="t" for="ch" forName="ParentAccent5" refType="h" fact="0.5511"/>
                  <dgm:constr type="w" for="ch" forName="ParentAccent5" refType="w" fact="0.0287"/>
                  <dgm:constr type="h" for="ch" forName="ParentAccent5" refType="h" fact="0.0608"/>
                  <dgm:constr type="r" for="ch" forName="ParentAccent6" refType="w" fact="0.3203"/>
                  <dgm:constr type="t" for="ch" forName="ParentAccent6" refType="h" fact="0.5207"/>
                  <dgm:constr type="w" for="ch" forName="ParentAccent6" refType="w" fact="0.0574"/>
                  <dgm:constr type="h" for="ch" forName="ParentAccent6" refType="h" fact="0.1217"/>
                  <dgm:constr type="r" for="ch" forName="ParentAccent7" refType="w" fact="0.0755"/>
                  <dgm:constr type="t" for="ch" forName="ParentAccent7" refType="h" fact="0.4255"/>
                  <dgm:constr type="w" for="ch" forName="ParentAccent7" refType="w" fact="0.0287"/>
                  <dgm:constr type="h" for="ch" forName="ParentAccent7" refType="h" fact="0.0608"/>
                  <dgm:constr type="r" for="ch" forName="ParentAccent8" refType="w" fact="0.0755"/>
                  <dgm:constr type="t" for="ch" forName="ParentAccent8" refType="h" fact="0.6776"/>
                  <dgm:constr type="w" for="ch" forName="ParentAccent8" refType="w" fact="0.0287"/>
                  <dgm:constr type="h" for="ch" forName="ParentAccent8" refType="h" fact="0.0608"/>
                  <dgm:constr type="r" for="ch" forName="ParentAccent9" refType="w" fact="0.0499"/>
                  <dgm:constr type="t" for="ch" forName="ParentAccent9" refType="h" fact="0.4801"/>
                  <dgm:constr type="w" for="ch" forName="ParentAccent9" refType="w" fact="0.0287"/>
                  <dgm:constr type="h" for="ch" forName="ParentAccent9" refType="h" fact="0.0608"/>
                  <dgm:constr type="r" for="ch" forName="ParentAccent10" refType="w" fact="0.0482"/>
                  <dgm:constr type="t" for="ch" forName="ParentAccent10" refType="h" fact="0.6233"/>
                  <dgm:constr type="w" for="ch" forName="ParentAccent10" refType="w" fact="0.0287"/>
                  <dgm:constr type="h" for="ch" forName="ParentAccent10" refType="h" fact="0.0608"/>
                  <dgm:constr type="r" for="ch" forName="Child2" refType="w"/>
                  <dgm:constr type="t" for="ch" forName="Child2" refType="h" fact="0.7822"/>
                  <dgm:constr type="w" for="ch" forName="Child2" refType="w" fact="0.3364"/>
                  <dgm:constr type="h" for="ch" forName="Child2" refType="h" fact="0.1564"/>
                  <dgm:constr type="r" for="ch" forName="Child1" refType="w"/>
                  <dgm:constr type="t" for="ch" forName="Child1" refType="h" fact="0"/>
                  <dgm:constr type="w" for="ch" forName="Child1" refType="w" fact="0.3364"/>
                  <dgm:constr type="h" for="ch" forName="Child1" refType="h" fact="0.1564"/>
                  <dgm:constr type="r" for="ch" forName="Parent" refType="w" fact="0.6347"/>
                  <dgm:constr type="t" for="ch" forName="Parent" refType="h" fact="0.2737"/>
                  <dgm:constr type="w" for="ch" forName="Parent" refType="w" fact="0.2906"/>
                  <dgm:constr type="h" for="ch" forName="Parent" refType="h" fact="0.6157"/>
                </dgm:constrLst>
              </dgm:if>
              <dgm:if name="Name18" axis="ch" ptType="node" func="cnt" op="equ" val="3">
                <dgm:alg type="composite">
                  <dgm:param type="ar" val="2.1185"/>
                </dgm:alg>
                <dgm:constrLst>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Child1Accent1" refType="w" fact="0.6564"/>
                  <dgm:constr type="t" for="ch" forName="Child1Accent1" refType="h" fact="0.2211"/>
                  <dgm:constr type="w" for="ch" forName="Child1Accent1" refType="w" fact="0.0574"/>
                  <dgm:constr type="h" for="ch" forName="Child1Accent1" refType="h" fact="0.1217"/>
                  <dgm:constr type="r" for="ch" forName="Child1Accent2" refType="w" fact="0.6932"/>
                  <dgm:constr type="t" for="ch" forName="Child1Accent2" refType="h" fact="0.1569"/>
                  <dgm:constr type="w" for="ch" forName="Child1Accent2" refType="w" fact="0.0287"/>
                  <dgm:constr type="h" for="ch" forName="Child1Accent2" refType="h" fact="0.0608"/>
                  <dgm:constr type="r" for="ch" forName="Child1Accent3" refType="w" fact="0.7545"/>
                  <dgm:constr type="t" for="ch" forName="Child1Accent3" refType="h" fact="0.1569"/>
                  <dgm:constr type="w" for="ch" forName="Child1Accent3" refType="w" fact="0.0287"/>
                  <dgm:constr type="h" for="ch" forName="Child1Accent3" refType="h" fact="0.0608"/>
                  <dgm:constr type="r" for="ch" forName="Child1Accent4" refType="w" fact="0.8158"/>
                  <dgm:constr type="t" for="ch" forName="Child1Accent4" refType="h" fact="0.1569"/>
                  <dgm:constr type="w" for="ch" forName="Child1Accent4" refType="w" fact="0.0287"/>
                  <dgm:constr type="h" for="ch" forName="Child1Accent4" refType="h" fact="0.0608"/>
                  <dgm:constr type="r" for="ch" forName="Child1Accent5" refType="w" fact="0.8771"/>
                  <dgm:constr type="t" for="ch" forName="Child1Accent5" refType="h" fact="0.1569"/>
                  <dgm:constr type="w" for="ch" forName="Child1Accent5" refType="w" fact="0.0287"/>
                  <dgm:constr type="h" for="ch" forName="Child1Accent5" refType="h" fact="0.0608"/>
                  <dgm:constr type="r" for="ch" forName="Child1Accent6" refType="w" fact="0.9385"/>
                  <dgm:constr type="t" for="ch" forName="Child1Accent6" refType="h" fact="0.1569"/>
                  <dgm:constr type="w" for="ch" forName="Child1Accent6" refType="w" fact="0.0287"/>
                  <dgm:constr type="h" for="ch" forName="Child1Accent6" refType="h" fact="0.0608"/>
                  <dgm:constr type="r" for="ch" forName="Child1Accent7" refType="w" fact="0.9998"/>
                  <dgm:constr type="t" for="ch" forName="Child1Accent7" refType="h" fact="0.1569"/>
                  <dgm:constr type="w" for="ch" forName="Child1Accent7" refType="w" fact="0.0287"/>
                  <dgm:constr type="h" for="ch" forName="Child1Accent7" refType="h" fact="0.0608"/>
                  <dgm:constr type="r" for="ch" forName="Child1Accent8" refType="w" fact="0"/>
                  <dgm:constr type="t" for="ch" forName="Child1Accent8" refType="h" fact="0"/>
                  <dgm:constr type="w" for="ch" forName="Child1Accent8" refType="w" fact="0"/>
                  <dgm:constr type="h" for="ch" forName="Child1Accent8" refType="h" fact="0"/>
                  <dgm:constr type="r" for="ch" forName="Child1Accent9" refType="w" fact="0"/>
                  <dgm:constr type="t" for="ch" forName="Child1Accent9" refType="h" fact="0"/>
                  <dgm:constr type="w" for="ch" forName="Child1Accent9" refType="w" fact="0"/>
                  <dgm:constr type="h" for="ch" forName="Child1Accent9" refType="h" fact="0"/>
                  <dgm:constr type="r" for="ch" forName="Child2Accent1" refType="w" fact="0.716"/>
                  <dgm:constr type="t" for="ch" forName="Child2Accent1" refType="h" fact="0.5207"/>
                  <dgm:constr type="w" for="ch" forName="Child2Accent1" refType="w" fact="0.0574"/>
                  <dgm:constr type="h" for="ch" forName="Child2Accent1" refType="h" fact="0.1217"/>
                  <dgm:constr type="r" for="ch" forName="Child2Accent2" refType="w" fact="0.7728"/>
                  <dgm:constr type="t" for="ch" forName="Child2Accent2" refType="h" fact="0.5511"/>
                  <dgm:constr type="w" for="ch" forName="Child2Accent2" refType="w" fact="0.0287"/>
                  <dgm:constr type="h" for="ch" forName="Child2Accent2" refType="h" fact="0.0608"/>
                  <dgm:constr type="r" for="ch" forName="Child2Accent3" refType="w" fact="0.8295"/>
                  <dgm:constr type="t" for="ch" forName="Child2Accent3" refType="h" fact="0.5511"/>
                  <dgm:constr type="w" for="ch" forName="Child2Accent3" refType="w" fact="0.0287"/>
                  <dgm:constr type="h" for="ch" forName="Child2Accent3" refType="h" fact="0.0608"/>
                  <dgm:constr type="r" for="ch" forName="Child2Accent4" refType="w" fact="0.8863"/>
                  <dgm:constr type="t" for="ch" forName="Child2Accent4" refType="h" fact="0.5511"/>
                  <dgm:constr type="w" for="ch" forName="Child2Accent4" refType="w" fact="0.0287"/>
                  <dgm:constr type="h" for="ch" forName="Child2Accent4" refType="h" fact="0.0608"/>
                  <dgm:constr type="r" for="ch" forName="Child2Accent5" refType="w" fact="0.943"/>
                  <dgm:constr type="t" for="ch" forName="Child2Accent5" refType="h" fact="0.5511"/>
                  <dgm:constr type="w" for="ch" forName="Child2Accent5" refType="w" fact="0.0287"/>
                  <dgm:constr type="h" for="ch" forName="Child2Accent5" refType="h" fact="0.0608"/>
                  <dgm:constr type="r" for="ch" forName="Child2Accent6" refType="w" fact="0.9998"/>
                  <dgm:constr type="t" for="ch" forName="Child2Accent6" refType="h" fact="0.5511"/>
                  <dgm:constr type="w" for="ch" forName="Child2Accent6" refType="w" fact="0.0287"/>
                  <dgm:constr type="h" for="ch" forName="Child2Accent6" refType="h" fact="0.0608"/>
                  <dgm:constr type="r" for="ch" forName="Child2Accent7" refType="w" fact="0"/>
                  <dgm:constr type="t" for="ch" forName="Child2Accent7" refType="h" fact="0"/>
                  <dgm:constr type="w" for="ch" forName="Child2Accent7" refType="w" fact="0"/>
                  <dgm:constr type="h" for="ch" forName="Child2Accent7" refType="h" fact="0"/>
                  <dgm:constr type="r" for="ch" forName="Child3Accent1" refType="w" fact="0.6564"/>
                  <dgm:constr type="t" for="ch" forName="Child3Accent1" refType="h" fact="0.8153"/>
                  <dgm:constr type="w" for="ch" forName="Child3Accent1" refType="w" fact="0.0574"/>
                  <dgm:constr type="h" for="ch" forName="Child3Accent1" refType="h" fact="0.1217"/>
                  <dgm:constr type="r" for="ch" forName="Child3Accent2" refType="w" fact="0.6932"/>
                  <dgm:constr type="t" for="ch" forName="Child3Accent2" refType="h" fact="0.9392"/>
                  <dgm:constr type="w" for="ch" forName="Child3Accent2" refType="w" fact="0.0287"/>
                  <dgm:constr type="h" for="ch" forName="Child3Accent2" refType="h" fact="0.0608"/>
                  <dgm:constr type="r" for="ch" forName="Child3Accent3" refType="w" fact="0.7545"/>
                  <dgm:constr type="t" for="ch" forName="Child3Accent3" refType="h" fact="0.9392"/>
                  <dgm:constr type="w" for="ch" forName="Child3Accent3" refType="w" fact="0.0287"/>
                  <dgm:constr type="h" for="ch" forName="Child3Accent3" refType="h" fact="0.0608"/>
                  <dgm:constr type="r" for="ch" forName="Child3Accent4" refType="w" fact="0.8158"/>
                  <dgm:constr type="t" for="ch" forName="Child3Accent4" refType="h" fact="0.9392"/>
                  <dgm:constr type="w" for="ch" forName="Child3Accent4" refType="w" fact="0.0287"/>
                  <dgm:constr type="h" for="ch" forName="Child3Accent4" refType="h" fact="0.0608"/>
                  <dgm:constr type="r" for="ch" forName="Child3Accent5" refType="w" fact="0.8771"/>
                  <dgm:constr type="t" for="ch" forName="Child3Accent5" refType="h" fact="0.9392"/>
                  <dgm:constr type="w" for="ch" forName="Child3Accent5" refType="w" fact="0.0287"/>
                  <dgm:constr type="h" for="ch" forName="Child3Accent5" refType="h" fact="0.0608"/>
                  <dgm:constr type="r" for="ch" forName="Child3Accent6" refType="w" fact="0.9385"/>
                  <dgm:constr type="t" for="ch" forName="Child3Accent6" refType="h" fact="0.9392"/>
                  <dgm:constr type="w" for="ch" forName="Child3Accent6" refType="w" fact="0.0287"/>
                  <dgm:constr type="h" for="ch" forName="Child3Accent6" refType="h" fact="0.0608"/>
                  <dgm:constr type="r" for="ch" forName="Child3Accent7" refType="w" fact="0.9998"/>
                  <dgm:constr type="t" for="ch" forName="Child3Accent7" refType="h" fact="0.9392"/>
                  <dgm:constr type="w" for="ch" forName="Child3Accent7" refType="w" fact="0.0287"/>
                  <dgm:constr type="h" for="ch" forName="Child3Accent7" refType="h" fact="0.0608"/>
                  <dgm:constr type="r" for="ch" forName="ParentAccent1" refType="w" fact="0.0287"/>
                  <dgm:constr type="t" for="ch" forName="ParentAccent1" refType="h" fact="0.5511"/>
                  <dgm:constr type="w" for="ch" forName="ParentAccent1" refType="w" fact="0.0287"/>
                  <dgm:constr type="h" for="ch" forName="ParentAccent1" refType="h" fact="0.0608"/>
                  <dgm:constr type="r" for="ch" forName="ParentAccent2" refType="w" fact="0.0813"/>
                  <dgm:constr type="t" for="ch" forName="ParentAccent2" refType="h" fact="0.5511"/>
                  <dgm:constr type="w" for="ch" forName="ParentAccent2" refType="w" fact="0.0287"/>
                  <dgm:constr type="h" for="ch" forName="ParentAccent2" refType="h" fact="0.0608"/>
                  <dgm:constr type="r" for="ch" forName="ParentAccent3" refType="w" fact="0.1339"/>
                  <dgm:constr type="t" for="ch" forName="ParentAccent3" refType="h" fact="0.5511"/>
                  <dgm:constr type="w" for="ch" forName="ParentAccent3" refType="w" fact="0.0287"/>
                  <dgm:constr type="h" for="ch" forName="ParentAccent3" refType="h" fact="0.0608"/>
                  <dgm:constr type="r" for="ch" forName="ParentAccent4" refType="w" fact="0.1864"/>
                  <dgm:constr type="t" for="ch" forName="ParentAccent4" refType="h" fact="0.5511"/>
                  <dgm:constr type="w" for="ch" forName="ParentAccent4" refType="w" fact="0.0287"/>
                  <dgm:constr type="h" for="ch" forName="ParentAccent4" refType="h" fact="0.0608"/>
                  <dgm:constr type="r" for="ch" forName="ParentAccent5" refType="w" fact="0.239"/>
                  <dgm:constr type="t" for="ch" forName="ParentAccent5" refType="h" fact="0.5511"/>
                  <dgm:constr type="w" for="ch" forName="ParentAccent5" refType="w" fact="0.0287"/>
                  <dgm:constr type="h" for="ch" forName="ParentAccent5" refType="h" fact="0.0608"/>
                  <dgm:constr type="r" for="ch" forName="ParentAccent6" refType="w" fact="0.3203"/>
                  <dgm:constr type="t" for="ch" forName="ParentAccent6" refType="h" fact="0.5207"/>
                  <dgm:constr type="w" for="ch" forName="ParentAccent6" refType="w" fact="0.0574"/>
                  <dgm:constr type="h" for="ch" forName="ParentAccent6" refType="h" fact="0.1217"/>
                  <dgm:constr type="r" for="ch" forName="ParentAccent7" refType="w" fact="0.0755"/>
                  <dgm:constr type="t" for="ch" forName="ParentAccent7" refType="h" fact="0.4255"/>
                  <dgm:constr type="w" for="ch" forName="ParentAccent7" refType="w" fact="0.0287"/>
                  <dgm:constr type="h" for="ch" forName="ParentAccent7" refType="h" fact="0.0608"/>
                  <dgm:constr type="r" for="ch" forName="ParentAccent8" refType="w" fact="0.0755"/>
                  <dgm:constr type="t" for="ch" forName="ParentAccent8" refType="h" fact="0.6776"/>
                  <dgm:constr type="w" for="ch" forName="ParentAccent8" refType="w" fact="0.0287"/>
                  <dgm:constr type="h" for="ch" forName="ParentAccent8" refType="h" fact="0.0608"/>
                  <dgm:constr type="r" for="ch" forName="ParentAccent9" refType="w" fact="0.0499"/>
                  <dgm:constr type="t" for="ch" forName="ParentAccent9" refType="h" fact="0.4801"/>
                  <dgm:constr type="w" for="ch" forName="ParentAccent9" refType="w" fact="0.0287"/>
                  <dgm:constr type="h" for="ch" forName="ParentAccent9" refType="h" fact="0.0608"/>
                  <dgm:constr type="r" for="ch" forName="ParentAccent10" refType="w" fact="0.0482"/>
                  <dgm:constr type="t" for="ch" forName="ParentAccent10" refType="h" fact="0.6233"/>
                  <dgm:constr type="w" for="ch" forName="ParentAccent10" refType="w" fact="0.0287"/>
                  <dgm:constr type="h" for="ch" forName="ParentAccent10" refType="h" fact="0.0608"/>
                  <dgm:constr type="r" for="ch" forName="Child3" refType="w"/>
                  <dgm:constr type="t" for="ch" forName="Child3" refType="h" fact="0.7822"/>
                  <dgm:constr type="w" for="ch" forName="Child3" refType="w" fact="0.3364"/>
                  <dgm:constr type="h" for="ch" forName="Child3" refType="h" fact="0.1564"/>
                  <dgm:constr type="r" for="ch" forName="Child2" refType="w"/>
                  <dgm:constr type="t" for="ch" forName="Child2" refType="h" fact="0.3955"/>
                  <dgm:constr type="w" for="ch" forName="Child2" refType="w" fact="0.2544"/>
                  <dgm:constr type="h" for="ch" forName="Child2" refType="h" fact="0.1564"/>
                  <dgm:constr type="r" for="ch" forName="Child1" refType="w"/>
                  <dgm:constr type="t" for="ch" forName="Child1" refType="h" fact="0"/>
                  <dgm:constr type="w" for="ch" forName="Child1" refType="w" fact="0.3364"/>
                  <dgm:constr type="h" for="ch" forName="Child1" refType="h" fact="0.1564"/>
                  <dgm:constr type="r" for="ch" forName="Parent" refType="w" fact="0.6347"/>
                  <dgm:constr type="t" for="ch" forName="Parent" refType="h" fact="0.2737"/>
                  <dgm:constr type="w" for="ch" forName="Parent" refType="w" fact="0.2906"/>
                  <dgm:constr type="h" for="ch" forName="Parent" refType="h" fact="0.6157"/>
                </dgm:constrLst>
              </dgm:if>
              <dgm:if name="Name19" axis="ch" ptType="node" func="cnt" op="equ" val="4">
                <dgm:alg type="composite">
                  <dgm:param type="ar" val="1.8304"/>
                </dgm:alg>
                <dgm:constrLst>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 refType="w" fact="0.6229"/>
                  <dgm:constr type="t" for="ch" forName="Parent" refType="h" fact="0.2946"/>
                  <dgm:constr type="w" for="ch" forName="Parent" refType="w" fact="0.2862"/>
                  <dgm:constr type="h" for="ch" forName="Parent" refType="h" fact="0.5239"/>
                  <dgm:constr type="r" for="ch" forName="Child1Accent1" refType="w" fact="0.6096"/>
                  <dgm:constr type="t" for="ch" forName="Child1Accent1" refType="h" fact="0.2104"/>
                  <dgm:constr type="w" for="ch" forName="Child1Accent1" refType="w" fact="0.0566"/>
                  <dgm:constr type="h" for="ch" forName="Child1Accent1" refType="h" fact="0.1035"/>
                  <dgm:constr type="r" for="ch" forName="Child1Accent3" refType="w" fact="0.6999"/>
                  <dgm:constr type="t" for="ch" forName="Child1Accent3" refType="h" fact="0.128"/>
                  <dgm:constr type="w" for="ch" forName="Child1Accent3" refType="w" fact="0.0283"/>
                  <dgm:constr type="h" for="ch" forName="Child1Accent3" refType="h" fact="0.0518"/>
                  <dgm:constr type="r" for="ch" forName="Child1Accent4" refType="w" fact="0.7582"/>
                  <dgm:constr type="t" for="ch" forName="Child1Accent4" refType="h" fact="0.128"/>
                  <dgm:constr type="w" for="ch" forName="Child1Accent4" refType="w" fact="0.0283"/>
                  <dgm:constr type="h" for="ch" forName="Child1Accent4" refType="h" fact="0.0518"/>
                  <dgm:constr type="r" for="ch" forName="Child1Accent5" refType="w" fact="0.8165"/>
                  <dgm:constr type="t" for="ch" forName="Child1Accent5" refType="h" fact="0.128"/>
                  <dgm:constr type="w" for="ch" forName="Child1Accent5" refType="w" fact="0.0283"/>
                  <dgm:constr type="h" for="ch" forName="Child1Accent5" refType="h" fact="0.0518"/>
                  <dgm:constr type="r" for="ch" forName="Child1Accent6" refType="w" fact="0.8748"/>
                  <dgm:constr type="t" for="ch" forName="Child1Accent6" refType="h" fact="0.128"/>
                  <dgm:constr type="w" for="ch" forName="Child1Accent6" refType="w" fact="0.0283"/>
                  <dgm:constr type="h" for="ch" forName="Child1Accent6" refType="h" fact="0.0518"/>
                  <dgm:constr type="r" for="ch" forName="Child3Accent1" refType="w" fact="0.6842"/>
                  <dgm:constr type="t" for="ch" forName="Child3Accent1" refType="h" fact="0.6212"/>
                  <dgm:constr type="w" for="ch" forName="Child3Accent1" refType="w" fact="0.0566"/>
                  <dgm:constr type="h" for="ch" forName="Child3Accent1" refType="h" fact="0.1035"/>
                  <dgm:constr type="r" for="ch" forName="Child3Accent2" refType="w" fact="0.7311"/>
                  <dgm:constr type="t" for="ch" forName="Child3Accent2" refType="h" fact="0.6828"/>
                  <dgm:constr type="w" for="ch" forName="Child3Accent2" refType="w" fact="0.0283"/>
                  <dgm:constr type="h" for="ch" forName="Child3Accent2" refType="h" fact="0.0518"/>
                  <dgm:constr type="r" for="ch" forName="Child3Accent4" refType="w" fact="0.8386"/>
                  <dgm:constr type="t" for="ch" forName="Child3Accent4" refType="h" fact="0.6828"/>
                  <dgm:constr type="w" for="ch" forName="Child3Accent4" refType="w" fact="0.0283"/>
                  <dgm:constr type="h" for="ch" forName="Child3Accent4" refType="h" fact="0.0518"/>
                  <dgm:constr type="r" for="ch" forName="Child3Accent5" refType="w" fact="0.8923"/>
                  <dgm:constr type="t" for="ch" forName="Child3Accent5" refType="h" fact="0.6828"/>
                  <dgm:constr type="w" for="ch" forName="Child3Accent5" refType="w" fact="0.0283"/>
                  <dgm:constr type="h" for="ch" forName="Child3Accent5" refType="h" fact="0.0518"/>
                  <dgm:constr type="r" for="ch" forName="Child1Accent7" refType="w" fact="0.9332"/>
                  <dgm:constr type="t" for="ch" forName="Child1Accent7" refType="h" fact="0.128"/>
                  <dgm:constr type="w" for="ch" forName="Child1Accent7" refType="w" fact="0.0283"/>
                  <dgm:constr type="h" for="ch" forName="Child1Accent7" refType="h" fact="0.0518"/>
                  <dgm:constr type="r" for="ch" forName="Child3Accent6" refType="w" fact="0.9461"/>
                  <dgm:constr type="t" for="ch" forName="Child3Accent6" refType="h" fact="0.6828"/>
                  <dgm:constr type="w" for="ch" forName="Child3Accent6" refType="w" fact="0.0283"/>
                  <dgm:constr type="h" for="ch" forName="Child3Accent6" refType="h" fact="0.0518"/>
                  <dgm:constr type="r" for="ch" forName="Child1Accent8" refType="w" fact="0.9915"/>
                  <dgm:constr type="t" for="ch" forName="Child1Accent8" refType="h" fact="0.128"/>
                  <dgm:constr type="w" for="ch" forName="Child1Accent8" refType="w" fact="0.0283"/>
                  <dgm:constr type="h" for="ch" forName="Child1Accent8" refType="h" fact="0.0518"/>
                  <dgm:constr type="r" for="ch" forName="Child1Accent9" refType="w" fact="0"/>
                  <dgm:constr type="t" for="ch" forName="Child1Accent9" refType="h" fact="0"/>
                  <dgm:constr type="w" for="ch" forName="Child1Accent9" refType="w" fact="0"/>
                  <dgm:constr type="h" for="ch" forName="Child1Accent9" refType="h" fact="0"/>
                  <dgm:constr type="r" for="ch" forName="Child3Accent7" refType="w" fact="0.9998"/>
                  <dgm:constr type="t" for="ch" forName="Child3Accent7" refType="h" fact="0.6828"/>
                  <dgm:constr type="w" for="ch" forName="Child3Accent7" refType="w" fact="0.0283"/>
                  <dgm:constr type="h" for="ch" forName="Child3Accent7" refType="h" fact="0.0518"/>
                  <dgm:constr type="r" for="ch" forName="Child4Accent1" refType="w" fact="0.6096"/>
                  <dgm:constr type="t" for="ch" forName="Child4Accent1" refType="h" fact="0.8"/>
                  <dgm:constr type="w" for="ch" forName="Child4Accent1" refType="w" fact="0.0566"/>
                  <dgm:constr type="h" for="ch" forName="Child4Accent1" refType="h" fact="0.1035"/>
                  <dgm:constr type="r" for="ch" forName="Child4Accent3" refType="w" fact="0.7002"/>
                  <dgm:constr type="t" for="ch" forName="Child4Accent3" refType="h" fact="0.9482"/>
                  <dgm:constr type="w" for="ch" forName="Child4Accent3" refType="w" fact="0.0283"/>
                  <dgm:constr type="h" for="ch" forName="Child4Accent3" refType="h" fact="0.0518"/>
                  <dgm:constr type="r" for="ch" forName="Child4Accent4" refType="w" fact="0.7585"/>
                  <dgm:constr type="t" for="ch" forName="Child4Accent4" refType="h" fact="0.9482"/>
                  <dgm:constr type="w" for="ch" forName="Child4Accent4" refType="w" fact="0.0283"/>
                  <dgm:constr type="h" for="ch" forName="Child4Accent4" refType="h" fact="0.0518"/>
                  <dgm:constr type="r" for="ch" forName="Child4Accent5" refType="w" fact="0.8167"/>
                  <dgm:constr type="t" for="ch" forName="Child4Accent5" refType="h" fact="0.9482"/>
                  <dgm:constr type="w" for="ch" forName="Child4Accent5" refType="w" fact="0.0283"/>
                  <dgm:constr type="h" for="ch" forName="Child4Accent5" refType="h" fact="0.0518"/>
                  <dgm:constr type="r" for="ch" forName="Child4Accent6" refType="w" fact="0.8749"/>
                  <dgm:constr type="t" for="ch" forName="Child4Accent6" refType="h" fact="0.9482"/>
                  <dgm:constr type="w" for="ch" forName="Child4Accent6" refType="w" fact="0.0283"/>
                  <dgm:constr type="h" for="ch" forName="Child4Accent6" refType="h" fact="0.0518"/>
                  <dgm:constr type="r" for="ch" forName="Child4Accent7" refType="w" fact="0.9332"/>
                  <dgm:constr type="t" for="ch" forName="Child4Accent7" refType="h" fact="0.9482"/>
                  <dgm:constr type="w" for="ch" forName="Child4Accent7" refType="w" fact="0.0283"/>
                  <dgm:constr type="h" for="ch" forName="Child4Accent7" refType="h" fact="0.0518"/>
                  <dgm:constr type="r" for="ch" forName="Child4Accent8" refType="w" fact="0.9914"/>
                  <dgm:constr type="t" for="ch" forName="Child4Accent8" refType="h" fact="0.9482"/>
                  <dgm:constr type="w" for="ch" forName="Child4Accent8" refType="w" fact="0.0283"/>
                  <dgm:constr type="h" for="ch" forName="Child4Accent8" refType="h" fact="0.0518"/>
                  <dgm:constr type="r" for="ch" forName="Child2Accent1" refType="w" fact="0.6842"/>
                  <dgm:constr type="t" for="ch" forName="Child2Accent1" refType="h" fact="0.3725"/>
                  <dgm:constr type="w" for="ch" forName="Child2Accent1" refType="w" fact="0.0566"/>
                  <dgm:constr type="h" for="ch" forName="Child2Accent1" refType="h" fact="0.1035"/>
                  <dgm:constr type="r" for="ch" forName="Child4Accent2" refType="w" fact="0.642"/>
                  <dgm:constr type="t" for="ch" forName="Child4Accent2" refType="h" fact="0.8993"/>
                  <dgm:constr type="w" for="ch" forName="Child4Accent2" refType="w" fact="0.0283"/>
                  <dgm:constr type="h" for="ch" forName="Child4Accent2" refType="h" fact="0.0518"/>
                  <dgm:constr type="r" for="ch" forName="Child1Accent2" refType="w" fact="0.6415"/>
                  <dgm:constr type="t" for="ch" forName="Child1Accent2" refType="h" fact="0.162"/>
                  <dgm:constr type="w" for="ch" forName="Child1Accent2" refType="w" fact="0.0283"/>
                  <dgm:constr type="h" for="ch" forName="Child1Accent2" refType="h" fact="0.0518"/>
                  <dgm:constr type="r" for="ch" forName="Child3Accent3" refType="w" fact="0.7849"/>
                  <dgm:constr type="t" for="ch" forName="Child3Accent3" refType="h" fact="0.6828"/>
                  <dgm:constr type="w" for="ch" forName="Child3Accent3" refType="w" fact="0.0283"/>
                  <dgm:constr type="h" for="ch" forName="Child3Accent3" refType="h" fact="0.0518"/>
                  <dgm:constr type="r" for="ch" forName="Child2Accent2" refType="w" fact="0.7311"/>
                  <dgm:constr type="t" for="ch" forName="Child2Accent2" refType="h" fact="0.3937"/>
                  <dgm:constr type="w" for="ch" forName="Child2Accent2" refType="w" fact="0.0283"/>
                  <dgm:constr type="h" for="ch" forName="Child2Accent2" refType="h" fact="0.0518"/>
                  <dgm:constr type="r" for="ch" forName="Child2Accent4" refType="w" fact="0.8386"/>
                  <dgm:constr type="t" for="ch" forName="Child2Accent4" refType="h" fact="0.3937"/>
                  <dgm:constr type="w" for="ch" forName="Child2Accent4" refType="w" fact="0.0283"/>
                  <dgm:constr type="h" for="ch" forName="Child2Accent4" refType="h" fact="0.0518"/>
                  <dgm:constr type="r" for="ch" forName="Child2Accent5" refType="w" fact="0.8923"/>
                  <dgm:constr type="t" for="ch" forName="Child2Accent5" refType="h" fact="0.3937"/>
                  <dgm:constr type="w" for="ch" forName="Child2Accent5" refType="w" fact="0.0283"/>
                  <dgm:constr type="h" for="ch" forName="Child2Accent5" refType="h" fact="0.0518"/>
                  <dgm:constr type="r" for="ch" forName="Child2Accent6" refType="w" fact="0.9461"/>
                  <dgm:constr type="t" for="ch" forName="Child2Accent6" refType="h" fact="0.3937"/>
                  <dgm:constr type="w" for="ch" forName="Child2Accent6" refType="w" fact="0.0283"/>
                  <dgm:constr type="h" for="ch" forName="Child2Accent6" refType="h" fact="0.0518"/>
                  <dgm:constr type="r" for="ch" forName="Child2Accent7" refType="w" fact="0.9998"/>
                  <dgm:constr type="t" for="ch" forName="Child2Accent7" refType="h" fact="0.3937"/>
                  <dgm:constr type="w" for="ch" forName="Child2Accent7" refType="w" fact="0.0283"/>
                  <dgm:constr type="h" for="ch" forName="Child2Accent7" refType="h" fact="0.0518"/>
                  <dgm:constr type="r" for="ch" forName="Child2Accent3" refType="w" fact="0.7849"/>
                  <dgm:constr type="t" for="ch" forName="Child2Accent3" refType="h" fact="0.3937"/>
                  <dgm:constr type="w" for="ch" forName="Child2Accent3" refType="w" fact="0.0283"/>
                  <dgm:constr type="h" for="ch" forName="Child2Accent3" refType="h" fact="0.0518"/>
                  <dgm:constr type="r" for="ch" forName="ParentAccent1" refType="w" fact="0.0283"/>
                  <dgm:constr type="t" for="ch" forName="ParentAccent1" refType="h" fact="0.5316"/>
                  <dgm:constr type="w" for="ch" forName="ParentAccent1" refType="w" fact="0.0283"/>
                  <dgm:constr type="h" for="ch" forName="ParentAccent1" refType="h" fact="0.0518"/>
                  <dgm:constr type="r" for="ch" forName="ParentAccent2" refType="w" fact="0.0801"/>
                  <dgm:constr type="t" for="ch" forName="ParentAccent2" refType="h" fact="0.5316"/>
                  <dgm:constr type="w" for="ch" forName="ParentAccent2" refType="w" fact="0.0283"/>
                  <dgm:constr type="h" for="ch" forName="ParentAccent2" refType="h" fact="0.0518"/>
                  <dgm:constr type="r" for="ch" forName="ParentAccent3" refType="w" fact="0.1318"/>
                  <dgm:constr type="t" for="ch" forName="ParentAccent3" refType="h" fact="0.5316"/>
                  <dgm:constr type="w" for="ch" forName="ParentAccent3" refType="w" fact="0.0283"/>
                  <dgm:constr type="h" for="ch" forName="ParentAccent3" refType="h" fact="0.0518"/>
                  <dgm:constr type="r" for="ch" forName="ParentAccent4" refType="w" fact="0.1836"/>
                  <dgm:constr type="t" for="ch" forName="ParentAccent4" refType="h" fact="0.5316"/>
                  <dgm:constr type="w" for="ch" forName="ParentAccent4" refType="w" fact="0.0283"/>
                  <dgm:constr type="h" for="ch" forName="ParentAccent4" refType="h" fact="0.0518"/>
                  <dgm:constr type="r" for="ch" forName="ParentAccent5" refType="w" fact="0.2354"/>
                  <dgm:constr type="t" for="ch" forName="ParentAccent5" refType="h" fact="0.5316"/>
                  <dgm:constr type="w" for="ch" forName="ParentAccent5" refType="w" fact="0.0283"/>
                  <dgm:constr type="h" for="ch" forName="ParentAccent5" refType="h" fact="0.0518"/>
                  <dgm:constr type="r" for="ch" forName="ParentAccent6" refType="w" fact="0.3154"/>
                  <dgm:constr type="t" for="ch" forName="ParentAccent6" refType="h" fact="0.5057"/>
                  <dgm:constr type="w" for="ch" forName="ParentAccent6" refType="w" fact="0.0566"/>
                  <dgm:constr type="h" for="ch" forName="ParentAccent6" refType="h" fact="0.1035"/>
                  <dgm:constr type="r" for="ch" forName="ParentAccent7" refType="w" fact="0.0744"/>
                  <dgm:constr type="t" for="ch" forName="ParentAccent7" refType="h" fact="0.4247"/>
                  <dgm:constr type="w" for="ch" forName="ParentAccent7" refType="w" fact="0.0283"/>
                  <dgm:constr type="h" for="ch" forName="ParentAccent7" refType="h" fact="0.0518"/>
                  <dgm:constr type="r" for="ch" forName="ParentAccent8" refType="w" fact="0.0744"/>
                  <dgm:constr type="t" for="ch" forName="ParentAccent8" refType="h" fact="0.6392"/>
                  <dgm:constr type="w" for="ch" forName="ParentAccent8" refType="w" fact="0.0283"/>
                  <dgm:constr type="h" for="ch" forName="ParentAccent8" refType="h" fact="0.0518"/>
                  <dgm:constr type="r" for="ch" forName="ParentAccent9" refType="w" fact="0.0491"/>
                  <dgm:constr type="t" for="ch" forName="ParentAccent9" refType="h" fact="0.4712"/>
                  <dgm:constr type="w" for="ch" forName="ParentAccent9" refType="w" fact="0.0283"/>
                  <dgm:constr type="h" for="ch" forName="ParentAccent9" refType="h" fact="0.0518"/>
                  <dgm:constr type="r" for="ch" forName="ParentAccent10" refType="w" fact="0.0475"/>
                  <dgm:constr type="t" for="ch" forName="ParentAccent10" refType="h" fact="0.593"/>
                  <dgm:constr type="w" for="ch" forName="ParentAccent10" refType="w" fact="0.0283"/>
                  <dgm:constr type="h" for="ch" forName="ParentAccent10" refType="h" fact="0.0518"/>
                  <dgm:constr type="r" for="ch" forName="Child4" refType="w" fact="0.9919"/>
                  <dgm:constr type="t" for="ch" forName="Child4" refType="h" fact="0.8184"/>
                  <dgm:constr type="w" for="ch" forName="Child4" refType="w" fact="0.3192"/>
                  <dgm:constr type="h" for="ch" forName="Child4" refType="h" fact="0.1294"/>
                  <dgm:constr type="r" for="ch" forName="Child3" refType="w"/>
                  <dgm:constr type="t" for="ch" forName="Child3" refType="h" fact="0.5547"/>
                  <dgm:constr type="w" for="ch" forName="Child3" refType="w" fact="0.297"/>
                  <dgm:constr type="h" for="ch" forName="Child3" refType="h" fact="0.1294"/>
                  <dgm:constr type="r" for="ch" forName="Child2" refType="w"/>
                  <dgm:constr type="t" for="ch" forName="Child2" refType="h" fact="0.2662"/>
                  <dgm:constr type="w" for="ch" forName="Child2" refType="w" fact="0.297"/>
                  <dgm:constr type="h" for="ch" forName="Child2" refType="h" fact="0.1294"/>
                  <dgm:constr type="r" for="ch" forName="Child1" refType="w" fact="0.9919"/>
                  <dgm:constr type="t" for="ch" forName="Child1" refType="h" fact="0"/>
                  <dgm:constr type="w" for="ch" forName="Child1" refType="w" fact="0.3192"/>
                  <dgm:constr type="h" for="ch" forName="Child1" refType="h" fact="0.1294"/>
                </dgm:constrLst>
              </dgm:if>
              <dgm:else name="Name20">
                <dgm:alg type="composite">
                  <dgm:param type="ar" val="1.3278"/>
                </dgm:alg>
                <dgm:constrLst>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Child2Accent1" refType="w" fact="0.6564"/>
                  <dgm:constr type="t" for="ch" forName="Child2Accent1" refType="h" fact="0.3184"/>
                  <dgm:constr type="w" for="ch" forName="Child2Accent1" refType="w" fact="0.0574"/>
                  <dgm:constr type="h" for="ch" forName="Child2Accent1" refType="h" fact="0.0763"/>
                  <dgm:constr type="r" for="ch" forName="Child2Accent2" refType="w" fact="0.6932"/>
                  <dgm:constr type="t" for="ch" forName="Child2Accent2" refType="h" fact="0.2781"/>
                  <dgm:constr type="w" for="ch" forName="Child2Accent2" refType="w" fact="0.0287"/>
                  <dgm:constr type="h" for="ch" forName="Child2Accent2" refType="h" fact="0.0381"/>
                  <dgm:constr type="r" for="ch" forName="Child2Accent3" refType="w" fact="0.7545"/>
                  <dgm:constr type="t" for="ch" forName="Child2Accent3" refType="h" fact="0.2781"/>
                  <dgm:constr type="w" for="ch" forName="Child2Accent3" refType="w" fact="0.0287"/>
                  <dgm:constr type="h" for="ch" forName="Child2Accent3" refType="h" fact="0.0381"/>
                  <dgm:constr type="r" for="ch" forName="Child2Accent4" refType="w" fact="0.8158"/>
                  <dgm:constr type="t" for="ch" forName="Child2Accent4" refType="h" fact="0.2781"/>
                  <dgm:constr type="w" for="ch" forName="Child2Accent4" refType="w" fact="0.0287"/>
                  <dgm:constr type="h" for="ch" forName="Child2Accent4" refType="h" fact="0.0381"/>
                  <dgm:constr type="r" for="ch" forName="Child2Accent5" refType="w" fact="0.8771"/>
                  <dgm:constr type="t" for="ch" forName="Child2Accent5" refType="h" fact="0.2781"/>
                  <dgm:constr type="w" for="ch" forName="Child2Accent5" refType="w" fact="0.0287"/>
                  <dgm:constr type="h" for="ch" forName="Child2Accent5" refType="h" fact="0.0381"/>
                  <dgm:constr type="r" for="ch" forName="Child2Accent6" refType="w" fact="0.9385"/>
                  <dgm:constr type="t" for="ch" forName="Child2Accent6" refType="h" fact="0.2781"/>
                  <dgm:constr type="w" for="ch" forName="Child2Accent6" refType="w" fact="0.0287"/>
                  <dgm:constr type="h" for="ch" forName="Child2Accent6" refType="h" fact="0.0381"/>
                  <dgm:constr type="r" for="ch" forName="Child2Accent7" refType="w" fact="0.9998"/>
                  <dgm:constr type="t" for="ch" forName="Child2Accent7" refType="h" fact="0.2781"/>
                  <dgm:constr type="w" for="ch" forName="Child2Accent7" refType="w" fact="0.0287"/>
                  <dgm:constr type="h" for="ch" forName="Child2Accent7" refType="h" fact="0.0381"/>
                  <dgm:constr type="r" for="ch" forName="Child3Accent1" refType="w" fact="0.716"/>
                  <dgm:constr type="t" for="ch" forName="Child3Accent1" refType="h" fact="0.5061"/>
                  <dgm:constr type="w" for="ch" forName="Child3Accent1" refType="w" fact="0.0574"/>
                  <dgm:constr type="h" for="ch" forName="Child3Accent1" refType="h" fact="0.0763"/>
                  <dgm:constr type="r" for="ch" forName="Child3Accent2" refType="w" fact="0.7728"/>
                  <dgm:constr type="t" for="ch" forName="Child3Accent2" refType="h" fact="0.5252"/>
                  <dgm:constr type="w" for="ch" forName="Child3Accent2" refType="w" fact="0.0287"/>
                  <dgm:constr type="h" for="ch" forName="Child3Accent2" refType="h" fact="0.0381"/>
                  <dgm:constr type="r" for="ch" forName="Child3Accent3" refType="w" fact="0.8295"/>
                  <dgm:constr type="t" for="ch" forName="Child3Accent3" refType="h" fact="0.5252"/>
                  <dgm:constr type="w" for="ch" forName="Child3Accent3" refType="w" fact="0.0287"/>
                  <dgm:constr type="h" for="ch" forName="Child3Accent3" refType="h" fact="0.0381"/>
                  <dgm:constr type="r" for="ch" forName="Child3Accent4" refType="w" fact="0.8863"/>
                  <dgm:constr type="t" for="ch" forName="Child3Accent4" refType="h" fact="0.5252"/>
                  <dgm:constr type="w" for="ch" forName="Child3Accent4" refType="w" fact="0.0287"/>
                  <dgm:constr type="h" for="ch" forName="Child3Accent4" refType="h" fact="0.0381"/>
                  <dgm:constr type="r" for="ch" forName="Child3Accent5" refType="w" fact="0.943"/>
                  <dgm:constr type="t" for="ch" forName="Child3Accent5" refType="h" fact="0.5252"/>
                  <dgm:constr type="w" for="ch" forName="Child3Accent5" refType="w" fact="0.0287"/>
                  <dgm:constr type="h" for="ch" forName="Child3Accent5" refType="h" fact="0.0381"/>
                  <dgm:constr type="r" for="ch" forName="Child3Accent6" refType="w" fact="0.9998"/>
                  <dgm:constr type="t" for="ch" forName="Child3Accent6" refType="h" fact="0.5252"/>
                  <dgm:constr type="w" for="ch" forName="Child3Accent6" refType="w" fact="0.0287"/>
                  <dgm:constr type="h" for="ch" forName="Child3Accent6" refType="h" fact="0.0381"/>
                  <dgm:constr type="r" for="ch" forName="Child3Accent7" refType="w" fact="0"/>
                  <dgm:constr type="t" for="ch" forName="Child3Accent7" refType="h" fact="0"/>
                  <dgm:constr type="w" for="ch" forName="Child3Accent7" refType="w" fact="0"/>
                  <dgm:constr type="h" for="ch" forName="Child3Accent7" refType="h" fact="0"/>
                  <dgm:constr type="r" for="ch" forName="Child4Accent1" refType="w" fact="0.6564"/>
                  <dgm:constr type="t" for="ch" forName="Child4Accent1" refType="h" fact="0.6908"/>
                  <dgm:constr type="w" for="ch" forName="Child4Accent1" refType="w" fact="0.0574"/>
                  <dgm:constr type="h" for="ch" forName="Child4Accent1" refType="h" fact="0.0763"/>
                  <dgm:constr type="r" for="ch" forName="Child4Accent2" refType="w" fact="0.6932"/>
                  <dgm:constr type="t" for="ch" forName="Child4Accent2" refType="h" fact="0.7684"/>
                  <dgm:constr type="w" for="ch" forName="Child4Accent2" refType="w" fact="0.0287"/>
                  <dgm:constr type="h" for="ch" forName="Child4Accent2" refType="h" fact="0.0381"/>
                  <dgm:constr type="r" for="ch" forName="Child4Accent3" refType="w" fact="0.7545"/>
                  <dgm:constr type="t" for="ch" forName="Child4Accent3" refType="h" fact="0.7684"/>
                  <dgm:constr type="w" for="ch" forName="Child4Accent3" refType="w" fact="0.0287"/>
                  <dgm:constr type="h" for="ch" forName="Child4Accent3" refType="h" fact="0.0381"/>
                  <dgm:constr type="r" for="ch" forName="Child4Accent4" refType="w" fact="0.8158"/>
                  <dgm:constr type="t" for="ch" forName="Child4Accent4" refType="h" fact="0.7684"/>
                  <dgm:constr type="w" for="ch" forName="Child4Accent4" refType="w" fact="0.0287"/>
                  <dgm:constr type="h" for="ch" forName="Child4Accent4" refType="h" fact="0.0381"/>
                  <dgm:constr type="r" for="ch" forName="Child4Accent5" refType="w" fact="0.8771"/>
                  <dgm:constr type="t" for="ch" forName="Child4Accent5" refType="h" fact="0.7684"/>
                  <dgm:constr type="w" for="ch" forName="Child4Accent5" refType="w" fact="0.0287"/>
                  <dgm:constr type="h" for="ch" forName="Child4Accent5" refType="h" fact="0.0381"/>
                  <dgm:constr type="r" for="ch" forName="Child4Accent6" refType="w" fact="0.9385"/>
                  <dgm:constr type="t" for="ch" forName="Child4Accent6" refType="h" fact="0.7684"/>
                  <dgm:constr type="w" for="ch" forName="Child4Accent6" refType="w" fact="0.0287"/>
                  <dgm:constr type="h" for="ch" forName="Child4Accent6" refType="h" fact="0.0381"/>
                  <dgm:constr type="r" for="ch" forName="Child4Accent7" refType="w" fact="0.9998"/>
                  <dgm:constr type="t" for="ch" forName="Child4Accent7" refType="h" fact="0.7684"/>
                  <dgm:constr type="w" for="ch" forName="Child4Accent7" refType="w" fact="0.0287"/>
                  <dgm:constr type="h" for="ch" forName="Child4Accent7" refType="h" fact="0.0381"/>
                  <dgm:constr type="r" for="ch" forName="Child4Accent8" refType="w" fact="0"/>
                  <dgm:constr type="t" for="ch" forName="Child4Accent8" refType="h" fact="0"/>
                  <dgm:constr type="w" for="ch" forName="Child4Accent8" refType="w" fact="0"/>
                  <dgm:constr type="h" for="ch" forName="Child4Accent8" refType="h" fact="0"/>
                  <dgm:constr type="r" for="ch" forName="ParentAccent1" refType="w" fact="0.0287"/>
                  <dgm:constr type="t" for="ch" forName="ParentAccent1" refType="h" fact="0.5252"/>
                  <dgm:constr type="w" for="ch" forName="ParentAccent1" refType="w" fact="0.0287"/>
                  <dgm:constr type="h" for="ch" forName="ParentAccent1" refType="h" fact="0.0381"/>
                  <dgm:constr type="r" for="ch" forName="ParentAccent2" refType="w" fact="0.0813"/>
                  <dgm:constr type="t" for="ch" forName="ParentAccent2" refType="h" fact="0.5252"/>
                  <dgm:constr type="w" for="ch" forName="ParentAccent2" refType="w" fact="0.0287"/>
                  <dgm:constr type="h" for="ch" forName="ParentAccent2" refType="h" fact="0.0381"/>
                  <dgm:constr type="r" for="ch" forName="ParentAccent3" refType="w" fact="0.1339"/>
                  <dgm:constr type="t" for="ch" forName="ParentAccent3" refType="h" fact="0.5252"/>
                  <dgm:constr type="w" for="ch" forName="ParentAccent3" refType="w" fact="0.0287"/>
                  <dgm:constr type="h" for="ch" forName="ParentAccent3" refType="h" fact="0.0381"/>
                  <dgm:constr type="r" for="ch" forName="ParentAccent4" refType="w" fact="0.1864"/>
                  <dgm:constr type="t" for="ch" forName="ParentAccent4" refType="h" fact="0.5252"/>
                  <dgm:constr type="w" for="ch" forName="ParentAccent4" refType="w" fact="0.0287"/>
                  <dgm:constr type="h" for="ch" forName="ParentAccent4" refType="h" fact="0.0381"/>
                  <dgm:constr type="r" for="ch" forName="ParentAccent5" refType="w" fact="0.239"/>
                  <dgm:constr type="t" for="ch" forName="ParentAccent5" refType="h" fact="0.5252"/>
                  <dgm:constr type="w" for="ch" forName="ParentAccent5" refType="w" fact="0.0287"/>
                  <dgm:constr type="h" for="ch" forName="ParentAccent5" refType="h" fact="0.0381"/>
                  <dgm:constr type="r" for="ch" forName="ParentAccent6" refType="w" fact="0.3203"/>
                  <dgm:constr type="t" for="ch" forName="ParentAccent6" refType="h" fact="0.5061"/>
                  <dgm:constr type="w" for="ch" forName="ParentAccent6" refType="w" fact="0.0574"/>
                  <dgm:constr type="h" for="ch" forName="ParentAccent6" refType="h" fact="0.0763"/>
                  <dgm:constr type="r" for="ch" forName="ParentAccent7" refType="w" fact="0.0755"/>
                  <dgm:constr type="t" for="ch" forName="ParentAccent7" refType="h" fact="0.4464"/>
                  <dgm:constr type="w" for="ch" forName="ParentAccent7" refType="w" fact="0.0287"/>
                  <dgm:constr type="h" for="ch" forName="ParentAccent7" refType="h" fact="0.0381"/>
                  <dgm:constr type="r" for="ch" forName="ParentAccent8" refType="w" fact="0.0755"/>
                  <dgm:constr type="t" for="ch" forName="ParentAccent8" refType="h" fact="0.6045"/>
                  <dgm:constr type="w" for="ch" forName="ParentAccent8" refType="w" fact="0.0287"/>
                  <dgm:constr type="h" for="ch" forName="ParentAccent8" refType="h" fact="0.0381"/>
                  <dgm:constr type="r" for="ch" forName="ParentAccent9" refType="w" fact="0.0499"/>
                  <dgm:constr type="t" for="ch" forName="ParentAccent9" refType="h" fact="0.4807"/>
                  <dgm:constr type="w" for="ch" forName="ParentAccent9" refType="w" fact="0.0287"/>
                  <dgm:constr type="h" for="ch" forName="ParentAccent9" refType="h" fact="0.0381"/>
                  <dgm:constr type="r" for="ch" forName="ParentAccent10" refType="w" fact="0.0482"/>
                  <dgm:constr type="t" for="ch" forName="ParentAccent10" refType="h" fact="0.5705"/>
                  <dgm:constr type="w" for="ch" forName="ParentAccent10" refType="w" fact="0.0287"/>
                  <dgm:constr type="h" for="ch" forName="ParentAccent10" refType="h" fact="0.0381"/>
                  <dgm:constr type="r" for="ch" forName="Child1Accent1" refType="w" fact="0.5181"/>
                  <dgm:constr type="t" for="ch" forName="Child1Accent1" refType="h" fact="0.2457"/>
                  <dgm:constr type="w" for="ch" forName="Child1Accent1" refType="w" fact="0.0574"/>
                  <dgm:constr type="h" for="ch" forName="Child1Accent1" refType="h" fact="0.0763"/>
                  <dgm:constr type="r" for="ch" forName="Child1Accent2" refType="w" fact="0.5542"/>
                  <dgm:constr type="t" for="ch" forName="Child1Accent2" refType="h" fact="0.2004"/>
                  <dgm:constr type="w" for="ch" forName="Child1Accent2" refType="w" fact="0.0287"/>
                  <dgm:constr type="h" for="ch" forName="Child1Accent2" refType="h" fact="0.0381"/>
                  <dgm:constr type="r" for="ch" forName="Child1Accent3" refType="w" fact="0.5946"/>
                  <dgm:constr type="t" for="ch" forName="Child1Accent3" refType="h" fact="0.1445"/>
                  <dgm:constr type="w" for="ch" forName="Child1Accent3" refType="w" fact="0.0287"/>
                  <dgm:constr type="h" for="ch" forName="Child1Accent3" refType="h" fact="0.0381"/>
                  <dgm:constr type="r" for="ch" forName="Child1Accent4" refType="w" fact="0.6347"/>
                  <dgm:constr type="t" for="ch" forName="Child1Accent4" refType="h" fact="0.097"/>
                  <dgm:constr type="w" for="ch" forName="Child1Accent4" refType="w" fact="0.0287"/>
                  <dgm:constr type="h" for="ch" forName="Child1Accent4" refType="h" fact="0.0381"/>
                  <dgm:constr type="r" for="ch" forName="Child1Accent5" refType="w" fact="0.696"/>
                  <dgm:constr type="t" for="ch" forName="Child1Accent5" refType="h" fact="0.097"/>
                  <dgm:constr type="w" for="ch" forName="Child1Accent5" refType="w" fact="0.0287"/>
                  <dgm:constr type="h" for="ch" forName="Child1Accent5" refType="h" fact="0.0381"/>
                  <dgm:constr type="r" for="ch" forName="Child1Accent6" refType="w" fact="0.7574"/>
                  <dgm:constr type="t" for="ch" forName="Child1Accent6" refType="h" fact="0.097"/>
                  <dgm:constr type="w" for="ch" forName="Child1Accent6" refType="w" fact="0.0287"/>
                  <dgm:constr type="h" for="ch" forName="Child1Accent6" refType="h" fact="0.0381"/>
                  <dgm:constr type="r" for="ch" forName="Child1Accent7" refType="w" fact="0.8187"/>
                  <dgm:constr type="t" for="ch" forName="Child1Accent7" refType="h" fact="0.097"/>
                  <dgm:constr type="w" for="ch" forName="Child1Accent7" refType="w" fact="0.0287"/>
                  <dgm:constr type="h" for="ch" forName="Child1Accent7" refType="h" fact="0.0381"/>
                  <dgm:constr type="r" for="ch" forName="Child1Accent8" refType="w" fact="0.88"/>
                  <dgm:constr type="t" for="ch" forName="Child1Accent8" refType="h" fact="0.097"/>
                  <dgm:constr type="w" for="ch" forName="Child1Accent8" refType="w" fact="0.0287"/>
                  <dgm:constr type="h" for="ch" forName="Child1Accent8" refType="h" fact="0.0381"/>
                  <dgm:constr type="r" for="ch" forName="Child1Accent9" refType="w" fact="0.9413"/>
                  <dgm:constr type="t" for="ch" forName="Child1Accent9" refType="h" fact="0.097"/>
                  <dgm:constr type="w" for="ch" forName="Child1Accent9" refType="w" fact="0.0287"/>
                  <dgm:constr type="h" for="ch" forName="Child1Accent9" refType="h" fact="0.0381"/>
                  <dgm:constr type="r" for="ch" forName="Child5Accent1" refType="w" fact="0.5181"/>
                  <dgm:constr type="t" for="ch" forName="Child5Accent1" refType="h" fact="0.7601"/>
                  <dgm:constr type="w" for="ch" forName="Child5Accent1" refType="w" fact="0.0574"/>
                  <dgm:constr type="h" for="ch" forName="Child5Accent1" refType="h" fact="0.0763"/>
                  <dgm:constr type="r" for="ch" forName="Child5Accent2" refType="w" fact="0.547"/>
                  <dgm:constr type="t" for="ch" forName="Child5Accent2" refType="h" fact="0.8375"/>
                  <dgm:constr type="w" for="ch" forName="Child5Accent2" refType="w" fact="0.0287"/>
                  <dgm:constr type="h" for="ch" forName="Child5Accent2" refType="h" fact="0.0381"/>
                  <dgm:constr type="r" for="ch" forName="Child5Accent3" refType="w" fact="0.5882"/>
                  <dgm:constr type="t" for="ch" forName="Child5Accent3" refType="h" fact="0.8991"/>
                  <dgm:constr type="w" for="ch" forName="Child5Accent3" refType="w" fact="0.0287"/>
                  <dgm:constr type="h" for="ch" forName="Child5Accent3" refType="h" fact="0.0381"/>
                  <dgm:constr type="r" for="ch" forName="Child5Accent4" refType="w" fact="0.6347"/>
                  <dgm:constr type="t" for="ch" forName="Child5Accent4" refType="h" fact="0.9619"/>
                  <dgm:constr type="w" for="ch" forName="Child5Accent4" refType="w" fact="0.0287"/>
                  <dgm:constr type="h" for="ch" forName="Child5Accent4" refType="h" fact="0.0381"/>
                  <dgm:constr type="r" for="ch" forName="Child5Accent5" refType="w" fact="0.696"/>
                  <dgm:constr type="t" for="ch" forName="Child5Accent5" refType="h" fact="0.9619"/>
                  <dgm:constr type="w" for="ch" forName="Child5Accent5" refType="w" fact="0.0287"/>
                  <dgm:constr type="h" for="ch" forName="Child5Accent5" refType="h" fact="0.0381"/>
                  <dgm:constr type="r" for="ch" forName="Child5Accent6" refType="w" fact="0.7574"/>
                  <dgm:constr type="t" for="ch" forName="Child5Accent6" refType="h" fact="0.9619"/>
                  <dgm:constr type="w" for="ch" forName="Child5Accent6" refType="w" fact="0.0287"/>
                  <dgm:constr type="h" for="ch" forName="Child5Accent6" refType="h" fact="0.0381"/>
                  <dgm:constr type="r" for="ch" forName="Child5Accent7" refType="w" fact="0.8187"/>
                  <dgm:constr type="t" for="ch" forName="Child5Accent7" refType="h" fact="0.9619"/>
                  <dgm:constr type="w" for="ch" forName="Child5Accent7" refType="w" fact="0.0287"/>
                  <dgm:constr type="h" for="ch" forName="Child5Accent7" refType="h" fact="0.0381"/>
                  <dgm:constr type="r" for="ch" forName="Child5Accent8" refType="w" fact="0.88"/>
                  <dgm:constr type="t" for="ch" forName="Child5Accent8" refType="h" fact="0.9619"/>
                  <dgm:constr type="w" for="ch" forName="Child5Accent8" refType="w" fact="0.0287"/>
                  <dgm:constr type="h" for="ch" forName="Child5Accent8" refType="h" fact="0.0381"/>
                  <dgm:constr type="r" for="ch" forName="Child5Accent9" refType="w" fact="0.9423"/>
                  <dgm:constr type="t" for="ch" forName="Child5Accent9" refType="h" fact="0.9619"/>
                  <dgm:constr type="w" for="ch" forName="Child5Accent9" refType="w" fact="0.0287"/>
                  <dgm:constr type="h" for="ch" forName="Child5Accent9" refType="h" fact="0.0381"/>
                  <dgm:constr type="r" for="ch" forName="Child5" refType="w" fact="0.9419"/>
                  <dgm:constr type="t" for="ch" forName="Child5" refType="h" fact="0.8635"/>
                  <dgm:constr type="w" for="ch" forName="Child5" refType="w" fact="0.3364"/>
                  <dgm:constr type="h" for="ch" forName="Child5" refType="h" fact="0.0981"/>
                  <dgm:constr type="r" for="ch" forName="Child4" refType="w"/>
                  <dgm:constr type="t" for="ch" forName="Child4" refType="h" fact="0.6701"/>
                  <dgm:constr type="w" for="ch" forName="Child4" refType="w" fact="0.3364"/>
                  <dgm:constr type="h" for="ch" forName="Child4" refType="h" fact="0.0981"/>
                  <dgm:constr type="r" for="ch" forName="Child3" refType="w"/>
                  <dgm:constr type="t" for="ch" forName="Child3" refType="h" fact="0.4276"/>
                  <dgm:constr type="w" for="ch" forName="Child3" refType="w" fact="0.2544"/>
                  <dgm:constr type="h" for="ch" forName="Child3" refType="h" fact="0.0981"/>
                  <dgm:constr type="r" for="ch" forName="Child2" refType="w"/>
                  <dgm:constr type="t" for="ch" forName="Child2" refType="h" fact="0.1798"/>
                  <dgm:constr type="w" for="ch" forName="Child2" refType="w" fact="0.3364"/>
                  <dgm:constr type="h" for="ch" forName="Child2" refType="h" fact="0.0981"/>
                  <dgm:constr type="r" for="ch" forName="Child1" refType="w" fact="0.9419"/>
                  <dgm:constr type="t" for="ch" forName="Child1" refType="h" fact="0"/>
                  <dgm:constr type="w" for="ch" forName="Child1" refType="w" fact="0.3364"/>
                  <dgm:constr type="h" for="ch" forName="Child1" refType="h" fact="0.0981"/>
                  <dgm:constr type="r" for="ch" forName="Parent" refType="w" fact="0.6347"/>
                  <dgm:constr type="t" for="ch" forName="Parent" refType="h" fact="0.3513"/>
                  <dgm:constr type="w" for="ch" forName="Parent" refType="w" fact="0.2906"/>
                  <dgm:constr type="h" for="ch" forName="Parent" refType="h" fact="0.3859"/>
                </dgm:constrLst>
              </dgm:else>
            </dgm:choose>
          </dgm:else>
        </dgm:choose>
        <dgm:layoutNode name="ParentAccent1" styleLbl="alignNode1">
          <dgm:alg type="sp"/>
          <dgm:shape xmlns:r="http://schemas.openxmlformats.org/officeDocument/2006/relationships" type="ellipse" r:blip="">
            <dgm:adjLst/>
          </dgm:shape>
          <dgm:presOf/>
        </dgm:layoutNode>
        <dgm:layoutNode name="ParentAccent2" styleLbl="alignNode1">
          <dgm:alg type="sp"/>
          <dgm:shape xmlns:r="http://schemas.openxmlformats.org/officeDocument/2006/relationships" type="ellipse" r:blip="">
            <dgm:adjLst/>
          </dgm:shape>
          <dgm:presOf/>
        </dgm:layoutNode>
        <dgm:layoutNode name="ParentAccent3" styleLbl="alignNode1">
          <dgm:alg type="sp"/>
          <dgm:shape xmlns:r="http://schemas.openxmlformats.org/officeDocument/2006/relationships" type="ellipse" r:blip="">
            <dgm:adjLst/>
          </dgm:shape>
          <dgm:presOf/>
        </dgm:layoutNode>
        <dgm:layoutNode name="ParentAccent4" styleLbl="alignNode1">
          <dgm:alg type="sp"/>
          <dgm:shape xmlns:r="http://schemas.openxmlformats.org/officeDocument/2006/relationships" type="ellipse" r:blip="">
            <dgm:adjLst/>
          </dgm:shape>
          <dgm:presOf/>
        </dgm:layoutNode>
        <dgm:layoutNode name="ParentAccent5" styleLbl="alignNode1">
          <dgm:alg type="sp"/>
          <dgm:shape xmlns:r="http://schemas.openxmlformats.org/officeDocument/2006/relationships" type="ellipse" r:blip="">
            <dgm:adjLst/>
          </dgm:shape>
          <dgm:presOf/>
        </dgm:layoutNode>
        <dgm:layoutNode name="ParentAccent6" styleLbl="alignNode1">
          <dgm:alg type="sp"/>
          <dgm:shape xmlns:r="http://schemas.openxmlformats.org/officeDocument/2006/relationships" type="ellipse" r:blip="">
            <dgm:adjLst/>
          </dgm:shape>
          <dgm:presOf/>
        </dgm:layoutNode>
        <dgm:layoutNode name="ParentAccent7" styleLbl="alignNode1">
          <dgm:alg type="sp"/>
          <dgm:shape xmlns:r="http://schemas.openxmlformats.org/officeDocument/2006/relationships" type="ellipse" r:blip="">
            <dgm:adjLst/>
          </dgm:shape>
          <dgm:presOf/>
        </dgm:layoutNode>
        <dgm:layoutNode name="ParentAccent8" styleLbl="alignNode1">
          <dgm:alg type="sp"/>
          <dgm:shape xmlns:r="http://schemas.openxmlformats.org/officeDocument/2006/relationships" type="ellipse" r:blip="">
            <dgm:adjLst/>
          </dgm:shape>
          <dgm:presOf/>
        </dgm:layoutNode>
        <dgm:layoutNode name="ParentAccent9" styleLbl="alignNode1">
          <dgm:alg type="sp"/>
          <dgm:shape xmlns:r="http://schemas.openxmlformats.org/officeDocument/2006/relationships" type="ellipse" r:blip="">
            <dgm:adjLst/>
          </dgm:shape>
          <dgm:presOf/>
        </dgm:layoutNode>
        <dgm:layoutNode name="ParentAccent10" styleLbl="alignNode1">
          <dgm:alg type="sp"/>
          <dgm:shape xmlns:r="http://schemas.openxmlformats.org/officeDocument/2006/relationships" type="ellipse" r:blip="">
            <dgm:adjLst/>
          </dgm:shape>
          <dgm:presOf/>
        </dgm:layoutNode>
        <dgm:layoutNode name="Parent" styleLbl="alignNode1">
          <dgm:varLst>
            <dgm:chMax val="5"/>
            <dgm:chPref val="3"/>
            <dgm:bulletEnabled val="1"/>
          </dgm:varLst>
          <dgm:alg type="tx"/>
          <dgm:shape xmlns:r="http://schemas.openxmlformats.org/officeDocument/2006/relationships" type="ellipse"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name="Name21" axis="ch" ptType="node" cnt="1">
          <dgm:layoutNode name="Child1Accent1" styleLbl="alignNode1">
            <dgm:alg type="sp"/>
            <dgm:shape xmlns:r="http://schemas.openxmlformats.org/officeDocument/2006/relationships" type="ellipse" r:blip="">
              <dgm:adjLst/>
            </dgm:shape>
            <dgm:presOf/>
          </dgm:layoutNode>
          <dgm:layoutNode name="Child1Accent2" styleLbl="alignNode1">
            <dgm:alg type="sp"/>
            <dgm:shape xmlns:r="http://schemas.openxmlformats.org/officeDocument/2006/relationships" type="ellipse" r:blip="">
              <dgm:adjLst/>
            </dgm:shape>
            <dgm:presOf/>
          </dgm:layoutNode>
          <dgm:layoutNode name="Child1Accent3" styleLbl="alignNode1">
            <dgm:alg type="sp"/>
            <dgm:shape xmlns:r="http://schemas.openxmlformats.org/officeDocument/2006/relationships" type="ellipse" r:blip="">
              <dgm:adjLst/>
            </dgm:shape>
            <dgm:presOf/>
          </dgm:layoutNode>
          <dgm:layoutNode name="Child1Accent4" styleLbl="alignNode1">
            <dgm:alg type="sp"/>
            <dgm:shape xmlns:r="http://schemas.openxmlformats.org/officeDocument/2006/relationships" type="ellipse" r:blip="">
              <dgm:adjLst/>
            </dgm:shape>
            <dgm:presOf/>
          </dgm:layoutNode>
          <dgm:layoutNode name="Child1Accent5" styleLbl="alignNode1">
            <dgm:alg type="sp"/>
            <dgm:shape xmlns:r="http://schemas.openxmlformats.org/officeDocument/2006/relationships" type="ellipse" r:blip="">
              <dgm:adjLst/>
            </dgm:shape>
            <dgm:presOf/>
          </dgm:layoutNode>
          <dgm:layoutNode name="Child1Accent6" styleLbl="alignNode1">
            <dgm:alg type="sp"/>
            <dgm:shape xmlns:r="http://schemas.openxmlformats.org/officeDocument/2006/relationships" type="ellipse" r:blip="">
              <dgm:adjLst/>
            </dgm:shape>
            <dgm:presOf/>
          </dgm:layoutNode>
          <dgm:layoutNode name="Child1Accent7" styleLbl="alignNode1">
            <dgm:alg type="sp"/>
            <dgm:shape xmlns:r="http://schemas.openxmlformats.org/officeDocument/2006/relationships" type="ellipse" r:blip="">
              <dgm:adjLst/>
            </dgm:shape>
            <dgm:presOf/>
          </dgm:layoutNode>
          <dgm:layoutNode name="Child1Accent8" styleLbl="alignNode1">
            <dgm:alg type="sp"/>
            <dgm:shape xmlns:r="http://schemas.openxmlformats.org/officeDocument/2006/relationships" type="ellipse" r:blip="">
              <dgm:adjLst/>
            </dgm:shape>
            <dgm:presOf/>
          </dgm:layoutNode>
          <dgm:layoutNode name="Child1Accent9" styleLbl="alignNode1">
            <dgm:alg type="sp"/>
            <dgm:shape xmlns:r="http://schemas.openxmlformats.org/officeDocument/2006/relationships" type="ellipse" r:blip="">
              <dgm:adjLst/>
            </dgm:shape>
            <dgm:presOf/>
          </dgm:layoutNode>
          <dgm:layoutNode name="Child1"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forEach name="Name22" axis="ch" ptType="node" st="2" cnt="1">
          <dgm:layoutNode name="Child2Accent1" styleLbl="alignNode1">
            <dgm:alg type="sp"/>
            <dgm:shape xmlns:r="http://schemas.openxmlformats.org/officeDocument/2006/relationships" type="ellipse" r:blip="">
              <dgm:adjLst/>
            </dgm:shape>
            <dgm:presOf/>
          </dgm:layoutNode>
          <dgm:layoutNode name="Child2Accent2" styleLbl="alignNode1">
            <dgm:alg type="sp"/>
            <dgm:shape xmlns:r="http://schemas.openxmlformats.org/officeDocument/2006/relationships" type="ellipse" r:blip="">
              <dgm:adjLst/>
            </dgm:shape>
            <dgm:presOf/>
          </dgm:layoutNode>
          <dgm:layoutNode name="Child2Accent3" styleLbl="alignNode1">
            <dgm:alg type="sp"/>
            <dgm:shape xmlns:r="http://schemas.openxmlformats.org/officeDocument/2006/relationships" type="ellipse" r:blip="">
              <dgm:adjLst/>
            </dgm:shape>
            <dgm:presOf/>
          </dgm:layoutNode>
          <dgm:layoutNode name="Child2Accent4" styleLbl="alignNode1">
            <dgm:alg type="sp"/>
            <dgm:shape xmlns:r="http://schemas.openxmlformats.org/officeDocument/2006/relationships" type="ellipse" r:blip="">
              <dgm:adjLst/>
            </dgm:shape>
            <dgm:presOf/>
          </dgm:layoutNode>
          <dgm:layoutNode name="Child2Accent5" styleLbl="alignNode1">
            <dgm:alg type="sp"/>
            <dgm:shape xmlns:r="http://schemas.openxmlformats.org/officeDocument/2006/relationships" type="ellipse" r:blip="">
              <dgm:adjLst/>
            </dgm:shape>
            <dgm:presOf/>
          </dgm:layoutNode>
          <dgm:layoutNode name="Child2Accent6" styleLbl="alignNode1">
            <dgm:alg type="sp"/>
            <dgm:shape xmlns:r="http://schemas.openxmlformats.org/officeDocument/2006/relationships" type="ellipse" r:blip="">
              <dgm:adjLst/>
            </dgm:shape>
            <dgm:presOf/>
          </dgm:layoutNode>
          <dgm:layoutNode name="Child2Accent7" styleLbl="alignNode1">
            <dgm:alg type="sp"/>
            <dgm:shape xmlns:r="http://schemas.openxmlformats.org/officeDocument/2006/relationships" type="ellipse" r:blip="">
              <dgm:adjLst/>
            </dgm:shape>
            <dgm:presOf/>
          </dgm:layoutNode>
          <dgm:layoutNode name="Child2"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forEach name="Name23" axis="ch" ptType="node" st="3" cnt="1">
          <dgm:layoutNode name="Child3Accent1" styleLbl="alignNode1">
            <dgm:alg type="sp"/>
            <dgm:shape xmlns:r="http://schemas.openxmlformats.org/officeDocument/2006/relationships" type="ellipse" r:blip="">
              <dgm:adjLst/>
            </dgm:shape>
            <dgm:presOf/>
          </dgm:layoutNode>
          <dgm:layoutNode name="Child3Accent2" styleLbl="alignNode1">
            <dgm:alg type="sp"/>
            <dgm:shape xmlns:r="http://schemas.openxmlformats.org/officeDocument/2006/relationships" type="ellipse" r:blip="">
              <dgm:adjLst/>
            </dgm:shape>
            <dgm:presOf/>
          </dgm:layoutNode>
          <dgm:layoutNode name="Child3Accent3" styleLbl="alignNode1">
            <dgm:alg type="sp"/>
            <dgm:shape xmlns:r="http://schemas.openxmlformats.org/officeDocument/2006/relationships" type="ellipse" r:blip="">
              <dgm:adjLst/>
            </dgm:shape>
            <dgm:presOf/>
          </dgm:layoutNode>
          <dgm:layoutNode name="Child3Accent4" styleLbl="alignNode1">
            <dgm:alg type="sp"/>
            <dgm:shape xmlns:r="http://schemas.openxmlformats.org/officeDocument/2006/relationships" type="ellipse" r:blip="">
              <dgm:adjLst/>
            </dgm:shape>
            <dgm:presOf/>
          </dgm:layoutNode>
          <dgm:layoutNode name="Child3Accent5" styleLbl="alignNode1">
            <dgm:alg type="sp"/>
            <dgm:shape xmlns:r="http://schemas.openxmlformats.org/officeDocument/2006/relationships" type="ellipse" r:blip="">
              <dgm:adjLst/>
            </dgm:shape>
            <dgm:presOf/>
          </dgm:layoutNode>
          <dgm:layoutNode name="Child3Accent6" styleLbl="alignNode1">
            <dgm:alg type="sp"/>
            <dgm:shape xmlns:r="http://schemas.openxmlformats.org/officeDocument/2006/relationships" type="ellipse" r:blip="">
              <dgm:adjLst/>
            </dgm:shape>
            <dgm:presOf/>
          </dgm:layoutNode>
          <dgm:layoutNode name="Child3Accent7" styleLbl="alignNode1">
            <dgm:alg type="sp"/>
            <dgm:shape xmlns:r="http://schemas.openxmlformats.org/officeDocument/2006/relationships" type="ellipse" r:blip="">
              <dgm:adjLst/>
            </dgm:shape>
            <dgm:presOf/>
          </dgm:layoutNode>
          <dgm:layoutNode name="Child3"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forEach name="Name24" axis="ch" ptType="node" st="4" cnt="1">
          <dgm:layoutNode name="Child4Accent1" styleLbl="alignNode1">
            <dgm:alg type="sp"/>
            <dgm:shape xmlns:r="http://schemas.openxmlformats.org/officeDocument/2006/relationships" type="ellipse" r:blip="">
              <dgm:adjLst/>
            </dgm:shape>
            <dgm:presOf/>
          </dgm:layoutNode>
          <dgm:layoutNode name="Child4Accent2" styleLbl="alignNode1">
            <dgm:alg type="sp"/>
            <dgm:shape xmlns:r="http://schemas.openxmlformats.org/officeDocument/2006/relationships" type="ellipse" r:blip="">
              <dgm:adjLst/>
            </dgm:shape>
            <dgm:presOf/>
          </dgm:layoutNode>
          <dgm:layoutNode name="Child4Accent3" styleLbl="alignNode1">
            <dgm:alg type="sp"/>
            <dgm:shape xmlns:r="http://schemas.openxmlformats.org/officeDocument/2006/relationships" type="ellipse" r:blip="">
              <dgm:adjLst/>
            </dgm:shape>
            <dgm:presOf/>
          </dgm:layoutNode>
          <dgm:layoutNode name="Child4Accent4" styleLbl="alignNode1">
            <dgm:alg type="sp"/>
            <dgm:shape xmlns:r="http://schemas.openxmlformats.org/officeDocument/2006/relationships" type="ellipse" r:blip="">
              <dgm:adjLst/>
            </dgm:shape>
            <dgm:presOf/>
          </dgm:layoutNode>
          <dgm:layoutNode name="Child4Accent5" styleLbl="alignNode1">
            <dgm:alg type="sp"/>
            <dgm:shape xmlns:r="http://schemas.openxmlformats.org/officeDocument/2006/relationships" type="ellipse" r:blip="">
              <dgm:adjLst/>
            </dgm:shape>
            <dgm:presOf/>
          </dgm:layoutNode>
          <dgm:layoutNode name="Child4Accent6" styleLbl="alignNode1">
            <dgm:alg type="sp"/>
            <dgm:shape xmlns:r="http://schemas.openxmlformats.org/officeDocument/2006/relationships" type="ellipse" r:blip="">
              <dgm:adjLst/>
            </dgm:shape>
            <dgm:presOf/>
          </dgm:layoutNode>
          <dgm:layoutNode name="Child4Accent7" styleLbl="alignNode1">
            <dgm:alg type="sp"/>
            <dgm:shape xmlns:r="http://schemas.openxmlformats.org/officeDocument/2006/relationships" type="ellipse" r:blip="">
              <dgm:adjLst/>
            </dgm:shape>
            <dgm:presOf/>
          </dgm:layoutNode>
          <dgm:layoutNode name="Child4Accent8" styleLbl="alignNode1">
            <dgm:alg type="sp"/>
            <dgm:shape xmlns:r="http://schemas.openxmlformats.org/officeDocument/2006/relationships" type="ellipse" r:blip="">
              <dgm:adjLst/>
            </dgm:shape>
            <dgm:presOf/>
          </dgm:layoutNode>
          <dgm:layoutNode name="Child4"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forEach name="Name25" axis="ch" ptType="node" st="5" cnt="1">
          <dgm:layoutNode name="Child5Accent1" styleLbl="alignNode1">
            <dgm:alg type="sp"/>
            <dgm:shape xmlns:r="http://schemas.openxmlformats.org/officeDocument/2006/relationships" type="ellipse" r:blip="">
              <dgm:adjLst/>
            </dgm:shape>
            <dgm:presOf/>
          </dgm:layoutNode>
          <dgm:layoutNode name="Child5Accent2" styleLbl="alignNode1">
            <dgm:alg type="sp"/>
            <dgm:shape xmlns:r="http://schemas.openxmlformats.org/officeDocument/2006/relationships" type="ellipse" r:blip="">
              <dgm:adjLst/>
            </dgm:shape>
            <dgm:presOf/>
          </dgm:layoutNode>
          <dgm:layoutNode name="Child5Accent3" styleLbl="alignNode1">
            <dgm:alg type="sp"/>
            <dgm:shape xmlns:r="http://schemas.openxmlformats.org/officeDocument/2006/relationships" type="ellipse" r:blip="">
              <dgm:adjLst/>
            </dgm:shape>
            <dgm:presOf/>
          </dgm:layoutNode>
          <dgm:layoutNode name="Child5Accent4" styleLbl="alignNode1">
            <dgm:alg type="sp"/>
            <dgm:shape xmlns:r="http://schemas.openxmlformats.org/officeDocument/2006/relationships" type="ellipse" r:blip="">
              <dgm:adjLst/>
            </dgm:shape>
            <dgm:presOf/>
          </dgm:layoutNode>
          <dgm:layoutNode name="Child5Accent5" styleLbl="alignNode1">
            <dgm:alg type="sp"/>
            <dgm:shape xmlns:r="http://schemas.openxmlformats.org/officeDocument/2006/relationships" type="ellipse" r:blip="">
              <dgm:adjLst/>
            </dgm:shape>
            <dgm:presOf/>
          </dgm:layoutNode>
          <dgm:layoutNode name="Child5Accent6" styleLbl="alignNode1">
            <dgm:alg type="sp"/>
            <dgm:shape xmlns:r="http://schemas.openxmlformats.org/officeDocument/2006/relationships" type="ellipse" r:blip="">
              <dgm:adjLst/>
            </dgm:shape>
            <dgm:presOf/>
          </dgm:layoutNode>
          <dgm:layoutNode name="Child5Accent7" styleLbl="alignNode1">
            <dgm:alg type="sp"/>
            <dgm:shape xmlns:r="http://schemas.openxmlformats.org/officeDocument/2006/relationships" type="ellipse" r:blip="">
              <dgm:adjLst/>
            </dgm:shape>
            <dgm:presOf/>
          </dgm:layoutNode>
          <dgm:layoutNode name="Child5Accent8" styleLbl="alignNode1">
            <dgm:alg type="sp"/>
            <dgm:shape xmlns:r="http://schemas.openxmlformats.org/officeDocument/2006/relationships" type="ellipse" r:blip="">
              <dgm:adjLst/>
            </dgm:shape>
            <dgm:presOf/>
          </dgm:layoutNode>
          <dgm:layoutNode name="Child5Accent9" styleLbl="alignNode1">
            <dgm:alg type="sp"/>
            <dgm:shape xmlns:r="http://schemas.openxmlformats.org/officeDocument/2006/relationships" type="ellipse" r:blip="">
              <dgm:adjLst/>
            </dgm:shape>
            <dgm:presOf/>
          </dgm:layoutNode>
          <dgm:layoutNode name="Child5"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Cover with better question">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5EE0787-0B56-C64C-9678-4F765F8DEE3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p:cNvSpPr>
            <a:spLocks noGrp="1"/>
          </p:cNvSpPr>
          <p:nvPr>
            <p:ph type="ctrTitle" hasCustomPrompt="1"/>
          </p:nvPr>
        </p:nvSpPr>
        <p:spPr>
          <a:xfrm>
            <a:off x="829144" y="1523080"/>
            <a:ext cx="3406525" cy="1234184"/>
          </a:xfrm>
          <a:prstGeom prst="rect">
            <a:avLst/>
          </a:prstGeom>
        </p:spPr>
        <p:txBody>
          <a:bodyPr vert="horz" wrap="square" lIns="0" tIns="15240" rIns="0" bIns="0" rtlCol="0">
            <a:noAutofit/>
          </a:bodyPr>
          <a:lstStyle>
            <a:lvl1pPr>
              <a:defRPr lang="en-GB" sz="3598" b="0" i="0" spc="-45">
                <a:solidFill>
                  <a:schemeClr val="tx2">
                    <a:lumMod val="50000"/>
                  </a:schemeClr>
                </a:solidFill>
                <a:latin typeface="EYInterstate Light" panose="02000506000000020004" pitchFamily="2" charset="0"/>
                <a:cs typeface="EYInterstate Light" panose="02000506000000020004" pitchFamily="2" charset="0"/>
              </a:defRPr>
            </a:lvl1pPr>
          </a:lstStyle>
          <a:p>
            <a:pPr marL="12694" lvl="0">
              <a:spcBef>
                <a:spcPts val="120"/>
              </a:spcBef>
            </a:pPr>
            <a:r>
              <a:rPr lang="en-US" dirty="0"/>
              <a:t>Click to edit Master style</a:t>
            </a:r>
          </a:p>
        </p:txBody>
      </p:sp>
      <p:sp>
        <p:nvSpPr>
          <p:cNvPr id="16" name="Subtitle 2">
            <a:extLst>
              <a:ext uri="{FF2B5EF4-FFF2-40B4-BE49-F238E27FC236}">
                <a16:creationId xmlns:a16="http://schemas.microsoft.com/office/drawing/2014/main" id="{E020C50B-49C3-48A7-9C60-6F2DF65DE9E5}"/>
              </a:ext>
            </a:extLst>
          </p:cNvPr>
          <p:cNvSpPr>
            <a:spLocks noGrp="1"/>
          </p:cNvSpPr>
          <p:nvPr>
            <p:ph type="subTitle" idx="1"/>
          </p:nvPr>
        </p:nvSpPr>
        <p:spPr>
          <a:xfrm>
            <a:off x="829144" y="2900365"/>
            <a:ext cx="3406524" cy="645742"/>
          </a:xfrm>
          <a:prstGeom prst="rect">
            <a:avLst/>
          </a:prstGeom>
        </p:spPr>
        <p:txBody>
          <a:bodyPr lIns="0" tIns="0" rIns="0" bIns="0"/>
          <a:lstStyle>
            <a:lvl1pPr marL="0" indent="0" algn="l">
              <a:buNone/>
              <a:defRPr sz="1799" b="0" i="0">
                <a:solidFill>
                  <a:schemeClr val="tx2">
                    <a:lumMod val="50000"/>
                  </a:schemeClr>
                </a:solidFill>
                <a:latin typeface="EYInterstate Light" panose="02000506000000020004" pitchFamily="2" charset="0"/>
                <a:cs typeface="Arial" pitchFamily="34" charset="0"/>
              </a:defRPr>
            </a:lvl1pPr>
            <a:lvl2pPr marL="0" indent="0" algn="l">
              <a:buNone/>
              <a:defRPr sz="1599">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a:t>
            </a:r>
          </a:p>
          <a:p>
            <a:pPr lvl="0"/>
            <a:endParaRPr lang="en-US" dirty="0"/>
          </a:p>
          <a:p>
            <a:pPr lvl="0"/>
            <a:r>
              <a:rPr lang="en-US" dirty="0"/>
              <a:t>Month 2020</a:t>
            </a:r>
            <a:endParaRPr lang="en-GB" dirty="0"/>
          </a:p>
        </p:txBody>
      </p:sp>
      <p:sp>
        <p:nvSpPr>
          <p:cNvPr id="4" name="AutoShape 3"/>
          <p:cNvSpPr>
            <a:spLocks noChangeAspect="1" noChangeArrowheads="1" noTextEdit="1"/>
          </p:cNvSpPr>
          <p:nvPr userDrawn="1"/>
        </p:nvSpPr>
        <p:spPr bwMode="auto">
          <a:xfrm>
            <a:off x="603251" y="384175"/>
            <a:ext cx="5413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b="0" i="0" dirty="0">
              <a:latin typeface="EYInterstate Light" panose="02000506000000020004" pitchFamily="2" charset="0"/>
            </a:endParaRPr>
          </a:p>
        </p:txBody>
      </p:sp>
    </p:spTree>
    <p:extLst>
      <p:ext uri="{BB962C8B-B14F-4D97-AF65-F5344CB8AC3E}">
        <p14:creationId xmlns:p14="http://schemas.microsoft.com/office/powerpoint/2010/main" val="22929440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984C5B-AD64-5F4D-B120-293AA888104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p:cNvSpPr>
            <a:spLocks noGrp="1"/>
          </p:cNvSpPr>
          <p:nvPr>
            <p:ph type="title" hasCustomPrompt="1"/>
          </p:nvPr>
        </p:nvSpPr>
        <p:spPr>
          <a:xfrm>
            <a:off x="685801" y="1654488"/>
            <a:ext cx="6879921" cy="664797"/>
          </a:xfrm>
          <a:prstGeom prst="rect">
            <a:avLst/>
          </a:prstGeom>
        </p:spPr>
        <p:txBody>
          <a:bodyPr vert="horz" wrap="square" lIns="0" tIns="0" rIns="0" bIns="0" rtlCol="0">
            <a:spAutoFit/>
          </a:bodyPr>
          <a:lstStyle>
            <a:lvl1pPr>
              <a:defRPr lang="en-GB" sz="4798" b="0" i="0" spc="-45" dirty="0">
                <a:solidFill>
                  <a:schemeClr val="bg1"/>
                </a:solidFill>
                <a:latin typeface="EYInterstate Light" panose="02000506000000020004" pitchFamily="2" charset="0"/>
                <a:cs typeface="EYInterstate Light" panose="02000506000000020004" pitchFamily="2" charset="0"/>
              </a:defRPr>
            </a:lvl1pPr>
          </a:lstStyle>
          <a:p>
            <a:pPr marL="12694" lvl="0">
              <a:spcBef>
                <a:spcPts val="120"/>
              </a:spcBef>
            </a:pPr>
            <a:r>
              <a:rPr lang="en-US" dirty="0"/>
              <a:t>Click to edit title style</a:t>
            </a:r>
            <a:endParaRPr lang="en-GB" dirty="0"/>
          </a:p>
        </p:txBody>
      </p:sp>
      <p:sp>
        <p:nvSpPr>
          <p:cNvPr id="3" name="Text Placeholder 2"/>
          <p:cNvSpPr>
            <a:spLocks noGrp="1"/>
          </p:cNvSpPr>
          <p:nvPr>
            <p:ph type="body" idx="1" hasCustomPrompt="1"/>
          </p:nvPr>
        </p:nvSpPr>
        <p:spPr>
          <a:xfrm>
            <a:off x="685801" y="2479988"/>
            <a:ext cx="6879921" cy="332399"/>
          </a:xfrm>
          <a:prstGeom prst="rect">
            <a:avLst/>
          </a:prstGeom>
        </p:spPr>
        <p:txBody>
          <a:bodyPr vert="horz" wrap="square" lIns="0" tIns="0" rIns="0" bIns="0" rtlCol="0">
            <a:spAutoFit/>
          </a:bodyPr>
          <a:lstStyle>
            <a:lvl1pPr marL="0" indent="0">
              <a:buNone/>
              <a:defRPr lang="en-US" sz="2399" b="0" i="0" spc="-20" dirty="0" smtClean="0">
                <a:solidFill>
                  <a:schemeClr val="bg1"/>
                </a:solidFill>
                <a:latin typeface="EYInterstate Light" panose="02000506000000020004" pitchFamily="2" charset="0"/>
                <a:cs typeface="EYInterstate Light" panose="02000506000000020004" pitchFamily="2" charset="0"/>
              </a:defRPr>
            </a:lvl1pPr>
          </a:lstStyle>
          <a:p>
            <a:pPr marL="12694" lvl="0">
              <a:spcBef>
                <a:spcPts val="125"/>
              </a:spcBef>
            </a:pPr>
            <a:r>
              <a:rPr lang="en-US" dirty="0"/>
              <a:t>Click to edit Master text styles</a:t>
            </a:r>
          </a:p>
        </p:txBody>
      </p:sp>
    </p:spTree>
    <p:extLst>
      <p:ext uri="{BB962C8B-B14F-4D97-AF65-F5344CB8AC3E}">
        <p14:creationId xmlns:p14="http://schemas.microsoft.com/office/powerpoint/2010/main" val="14279111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356" y="1537527"/>
            <a:ext cx="11129094" cy="4509633"/>
          </a:xfrm>
          <a:prstGeom prst="rect">
            <a:avLst/>
          </a:prstGeom>
        </p:spPr>
        <p:txBody>
          <a:bodyPr/>
          <a:lstStyle>
            <a:lvl1pPr marL="359820" indent="-359820">
              <a:lnSpc>
                <a:spcPct val="100000"/>
              </a:lnSpc>
              <a:spcBef>
                <a:spcPts val="0"/>
              </a:spcBef>
              <a:buClr>
                <a:srgbClr val="FFD200"/>
              </a:buClr>
              <a:buFont typeface="EYInterstate" panose="02000503020000020004" pitchFamily="2" charset="0"/>
              <a:buChar char="•"/>
              <a:defRPr>
                <a:solidFill>
                  <a:schemeClr val="bg1"/>
                </a:solidFill>
                <a:latin typeface="EYInterstate Light" panose="02000506000000020004" pitchFamily="2" charset="0"/>
              </a:defRPr>
            </a:lvl1pPr>
            <a:lvl2pPr marL="719640" indent="-359820">
              <a:lnSpc>
                <a:spcPct val="100000"/>
              </a:lnSpc>
              <a:spcBef>
                <a:spcPts val="0"/>
              </a:spcBef>
              <a:buClr>
                <a:srgbClr val="FFD200"/>
              </a:buClr>
              <a:buFont typeface="EYInterstate" panose="02000503020000020004" pitchFamily="2" charset="0"/>
              <a:buChar char="•"/>
              <a:defRPr>
                <a:solidFill>
                  <a:schemeClr val="bg1"/>
                </a:solidFill>
                <a:latin typeface="EYInterstate Light" panose="02000506000000020004" pitchFamily="2" charset="0"/>
              </a:defRPr>
            </a:lvl2pPr>
            <a:lvl3pPr marL="1079460" indent="-359820">
              <a:lnSpc>
                <a:spcPct val="100000"/>
              </a:lnSpc>
              <a:spcBef>
                <a:spcPts val="0"/>
              </a:spcBef>
              <a:buClr>
                <a:srgbClr val="FFD200"/>
              </a:buClr>
              <a:buFont typeface="EYInterstate" panose="02000503020000020004" pitchFamily="2" charset="0"/>
              <a:buChar char="•"/>
              <a:defRPr>
                <a:solidFill>
                  <a:schemeClr val="bg1"/>
                </a:solidFill>
                <a:latin typeface="EYInterstate Light" panose="02000506000000020004" pitchFamily="2" charset="0"/>
              </a:defRPr>
            </a:lvl3pPr>
            <a:lvl4pPr marL="1439280" indent="-359820">
              <a:lnSpc>
                <a:spcPct val="100000"/>
              </a:lnSpc>
              <a:spcBef>
                <a:spcPts val="0"/>
              </a:spcBef>
              <a:buClr>
                <a:srgbClr val="FFD200"/>
              </a:buClr>
              <a:buFont typeface="EYInterstate" panose="02000503020000020004" pitchFamily="2" charset="0"/>
              <a:buChar char="•"/>
              <a:defRPr>
                <a:solidFill>
                  <a:schemeClr val="bg1"/>
                </a:solidFill>
                <a:latin typeface="EYInterstate Light" panose="02000506000000020004" pitchFamily="2" charset="0"/>
              </a:defRPr>
            </a:lvl4pPr>
            <a:lvl5pPr marL="1799100" indent="-359820">
              <a:lnSpc>
                <a:spcPct val="100000"/>
              </a:lnSpc>
              <a:spcBef>
                <a:spcPts val="0"/>
              </a:spcBef>
              <a:buClr>
                <a:srgbClr val="FFD200"/>
              </a:buClr>
              <a:buFont typeface="EYInterstate" panose="02000503020000020004" pitchFamily="2" charset="0"/>
              <a:buChar char="•"/>
              <a:defRPr>
                <a:solidFill>
                  <a:schemeClr val="bg1"/>
                </a:solidFill>
                <a:latin typeface="EYInterstate Light" panose="02000506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itle 1">
            <a:extLst>
              <a:ext uri="{FF2B5EF4-FFF2-40B4-BE49-F238E27FC236}">
                <a16:creationId xmlns:a16="http://schemas.microsoft.com/office/drawing/2014/main" id="{13F7FCBB-52CB-47F9-953C-D7969BE7000F}"/>
              </a:ext>
            </a:extLst>
          </p:cNvPr>
          <p:cNvSpPr>
            <a:spLocks noGrp="1"/>
          </p:cNvSpPr>
          <p:nvPr>
            <p:ph type="ctrTitle"/>
          </p:nvPr>
        </p:nvSpPr>
        <p:spPr>
          <a:xfrm>
            <a:off x="472356" y="466995"/>
            <a:ext cx="7696284" cy="403187"/>
          </a:xfrm>
          <a:prstGeom prst="rect">
            <a:avLst/>
          </a:prstGeom>
        </p:spPr>
        <p:txBody>
          <a:bodyPr vert="horz" wrap="square" lIns="0" tIns="15240" rIns="0" bIns="0" rtlCol="0">
            <a:spAutoFit/>
          </a:bodyPr>
          <a:lstStyle>
            <a:lvl1pPr>
              <a:defRPr lang="en-GB" sz="2799" b="0" i="0" spc="-45">
                <a:solidFill>
                  <a:schemeClr val="bg1"/>
                </a:solidFill>
                <a:latin typeface="EYInterstate Light" panose="02000506000000020004" pitchFamily="2" charset="0"/>
                <a:cs typeface="EYInterstate Light" panose="02000506000000020004" pitchFamily="2" charset="0"/>
              </a:defRPr>
            </a:lvl1pPr>
          </a:lstStyle>
          <a:p>
            <a:pPr marL="12694" lvl="0">
              <a:spcBef>
                <a:spcPts val="120"/>
              </a:spcBef>
            </a:pPr>
            <a:r>
              <a:rPr lang="en-US" dirty="0"/>
              <a:t>Click to edit Master title style</a:t>
            </a:r>
            <a:endParaRPr lang="en-GB" dirty="0"/>
          </a:p>
        </p:txBody>
      </p:sp>
      <p:sp>
        <p:nvSpPr>
          <p:cNvPr id="8" name="Subtitle 2">
            <a:extLst>
              <a:ext uri="{FF2B5EF4-FFF2-40B4-BE49-F238E27FC236}">
                <a16:creationId xmlns:a16="http://schemas.microsoft.com/office/drawing/2014/main" id="{2C1EAD05-C047-42A5-85A8-99CC78FBC236}"/>
              </a:ext>
            </a:extLst>
          </p:cNvPr>
          <p:cNvSpPr>
            <a:spLocks noGrp="1"/>
          </p:cNvSpPr>
          <p:nvPr>
            <p:ph type="subTitle" idx="13"/>
          </p:nvPr>
        </p:nvSpPr>
        <p:spPr>
          <a:xfrm>
            <a:off x="472356" y="941052"/>
            <a:ext cx="7696284" cy="237629"/>
          </a:xfrm>
          <a:prstGeom prst="rect">
            <a:avLst/>
          </a:prstGeom>
        </p:spPr>
        <p:txBody>
          <a:bodyPr vert="horz" wrap="square" lIns="0" tIns="15875" rIns="0" bIns="0" rtlCol="0">
            <a:spAutoFit/>
          </a:bodyPr>
          <a:lstStyle>
            <a:lvl1pPr marL="0" indent="0">
              <a:buNone/>
              <a:defRPr lang="en-GB" sz="1599" b="0" i="0" spc="-20">
                <a:solidFill>
                  <a:srgbClr val="FFE600"/>
                </a:solidFill>
                <a:latin typeface="EYInterstate Light" panose="02000506000000020004" pitchFamily="2" charset="0"/>
                <a:cs typeface="EYInterstate Light" panose="02000506000000020004" pitchFamily="2" charset="0"/>
              </a:defRPr>
            </a:lvl1pPr>
          </a:lstStyle>
          <a:p>
            <a:pPr marL="12694" lvl="0">
              <a:spcBef>
                <a:spcPts val="125"/>
              </a:spcBef>
            </a:pPr>
            <a:r>
              <a:rPr lang="en-US" dirty="0"/>
              <a:t>Click to edit Master subtitle style</a:t>
            </a:r>
            <a:endParaRPr lang="en-GB" dirty="0"/>
          </a:p>
        </p:txBody>
      </p:sp>
    </p:spTree>
    <p:extLst>
      <p:ext uri="{BB962C8B-B14F-4D97-AF65-F5344CB8AC3E}">
        <p14:creationId xmlns:p14="http://schemas.microsoft.com/office/powerpoint/2010/main" val="29036876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Boiler plate">
    <p:bg>
      <p:bgPr>
        <a:solidFill>
          <a:srgbClr val="181C29"/>
        </a:solidFill>
        <a:effectLst/>
      </p:bgPr>
    </p:bg>
    <p:spTree>
      <p:nvGrpSpPr>
        <p:cNvPr id="1" name=""/>
        <p:cNvGrpSpPr/>
        <p:nvPr/>
      </p:nvGrpSpPr>
      <p:grpSpPr>
        <a:xfrm>
          <a:off x="0" y="0"/>
          <a:ext cx="0" cy="0"/>
          <a:chOff x="0" y="0"/>
          <a:chExt cx="0" cy="0"/>
        </a:xfrm>
      </p:grpSpPr>
      <p:sp>
        <p:nvSpPr>
          <p:cNvPr id="3" name="Text Box 3">
            <a:extLst>
              <a:ext uri="{FF2B5EF4-FFF2-40B4-BE49-F238E27FC236}">
                <a16:creationId xmlns:a16="http://schemas.microsoft.com/office/drawing/2014/main" id="{FED4D237-10C0-1A45-AAF1-52C0F2C1189B}"/>
              </a:ext>
            </a:extLst>
          </p:cNvPr>
          <p:cNvSpPr txBox="1">
            <a:spLocks noChangeArrowheads="1"/>
          </p:cNvSpPr>
          <p:nvPr userDrawn="1"/>
        </p:nvSpPr>
        <p:spPr bwMode="auto">
          <a:xfrm>
            <a:off x="611102" y="682856"/>
            <a:ext cx="3826249"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3943" rtl="0" eaLnBrk="1" fontAlgn="auto" latinLnBrk="0" hangingPunct="1">
              <a:lnSpc>
                <a:spcPct val="100000"/>
              </a:lnSpc>
              <a:spcBef>
                <a:spcPts val="0"/>
              </a:spcBef>
              <a:spcAft>
                <a:spcPts val="600"/>
              </a:spcAft>
              <a:buClrTx/>
              <a:buSzTx/>
              <a:buFontTx/>
              <a:buNone/>
              <a:tabLst/>
              <a:defRPr/>
            </a:pPr>
            <a:r>
              <a:rPr kumimoji="0" lang="en-GB" altLang="en-US" sz="1049" b="0" i="0" u="none" strike="noStrike" kern="1200" cap="none" spc="0" normalizeH="0" baseline="0" noProof="0" dirty="0">
                <a:ln>
                  <a:noFill/>
                </a:ln>
                <a:solidFill>
                  <a:prstClr val="white">
                    <a:lumMod val="95000"/>
                  </a:prstClr>
                </a:solidFill>
                <a:effectLst/>
                <a:uLnTx/>
                <a:uFillTx/>
                <a:latin typeface="EYInterstate Light" panose="02000506000000020004" pitchFamily="2" charset="0"/>
                <a:ea typeface="+mn-ea"/>
                <a:cs typeface="+mn-cs"/>
              </a:rPr>
              <a:t>Ernst &amp; Young LLP</a:t>
            </a:r>
            <a:endParaRPr kumimoji="0" lang="en-US" altLang="en-US" sz="1049" b="0" i="0" u="none" strike="noStrike" kern="1200" cap="none" spc="0" normalizeH="0" baseline="0" noProof="0" dirty="0">
              <a:ln>
                <a:noFill/>
              </a:ln>
              <a:solidFill>
                <a:prstClr val="white">
                  <a:lumMod val="95000"/>
                </a:prstClr>
              </a:solidFill>
              <a:effectLst/>
              <a:uLnTx/>
              <a:uFillTx/>
              <a:latin typeface="EYInterstate Light" panose="02000506000000020004" pitchFamily="2" charset="0"/>
              <a:ea typeface="+mn-ea"/>
              <a:cs typeface="+mn-cs"/>
            </a:endParaRPr>
          </a:p>
        </p:txBody>
      </p:sp>
      <p:sp>
        <p:nvSpPr>
          <p:cNvPr id="5" name="Text Box 4">
            <a:extLst>
              <a:ext uri="{FF2B5EF4-FFF2-40B4-BE49-F238E27FC236}">
                <a16:creationId xmlns:a16="http://schemas.microsoft.com/office/drawing/2014/main" id="{555B2042-5888-3A4F-8105-8124FEAAD7D9}"/>
              </a:ext>
            </a:extLst>
          </p:cNvPr>
          <p:cNvSpPr txBox="1">
            <a:spLocks noChangeArrowheads="1"/>
          </p:cNvSpPr>
          <p:nvPr userDrawn="1"/>
        </p:nvSpPr>
        <p:spPr bwMode="auto">
          <a:xfrm>
            <a:off x="611101" y="926688"/>
            <a:ext cx="698795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IN" altLang="en-US" sz="999" b="0" i="0" u="none" strike="noStrike" kern="1200" cap="none" spc="0" normalizeH="0" baseline="0" noProof="0" dirty="0">
                <a:ln>
                  <a:noFill/>
                </a:ln>
                <a:solidFill>
                  <a:prstClr val="white">
                    <a:lumMod val="95000"/>
                  </a:prstClr>
                </a:solidFill>
                <a:effectLst/>
                <a:uLnTx/>
                <a:uFillTx/>
                <a:latin typeface="EYInterstate" panose="02000503020000020004" pitchFamily="2" charset="0"/>
                <a:ea typeface="+mn-ea"/>
                <a:cs typeface="+mn-cs"/>
              </a:rPr>
              <a:t>E</a:t>
            </a:r>
            <a:r>
              <a:rPr kumimoji="0" lang="en-IN" altLang="en-US" sz="999" b="1" i="0" u="none" strike="noStrike" kern="1200" cap="none" spc="0" normalizeH="0" baseline="0" noProof="0" dirty="0">
                <a:ln>
                  <a:noFill/>
                </a:ln>
                <a:solidFill>
                  <a:prstClr val="white">
                    <a:lumMod val="95000"/>
                  </a:prstClr>
                </a:solidFill>
                <a:effectLst/>
                <a:uLnTx/>
                <a:uFillTx/>
                <a:latin typeface="EYInterstate Light"/>
                <a:ea typeface="+mn-ea"/>
                <a:cs typeface="+mn-cs"/>
              </a:rPr>
              <a:t>Y</a:t>
            </a:r>
            <a:r>
              <a:rPr kumimoji="0" lang="en-IN" altLang="en-US" sz="999" b="0" i="0" u="none" strike="noStrike" kern="1200" cap="none" spc="0" normalizeH="0" baseline="0" noProof="0" dirty="0">
                <a:ln>
                  <a:noFill/>
                </a:ln>
                <a:solidFill>
                  <a:prstClr val="white">
                    <a:lumMod val="95000"/>
                  </a:prstClr>
                </a:solidFill>
                <a:effectLst/>
                <a:uLnTx/>
                <a:uFillTx/>
                <a:latin typeface="EYInterstate Light" panose="02000506000000020004" pitchFamily="2" charset="0"/>
                <a:ea typeface="+mn-ea"/>
                <a:cs typeface="+mn-cs"/>
              </a:rPr>
              <a:t> | Assurance | Tax | Strategy and Transactions | Consulting</a:t>
            </a:r>
            <a:endParaRPr kumimoji="0" lang="en-GB" altLang="en-US" sz="999" b="0" i="0" u="none" strike="noStrike" kern="1200" cap="none" spc="0" normalizeH="0" baseline="0" noProof="0" dirty="0">
              <a:ln>
                <a:noFill/>
              </a:ln>
              <a:solidFill>
                <a:prstClr val="white">
                  <a:lumMod val="95000"/>
                </a:prstClr>
              </a:solidFill>
              <a:effectLst/>
              <a:uLnTx/>
              <a:uFillTx/>
              <a:latin typeface="EYInterstate Light" panose="02000506000000020004" pitchFamily="2" charset="0"/>
              <a:ea typeface="+mn-ea"/>
              <a:cs typeface="+mn-cs"/>
            </a:endParaRPr>
          </a:p>
        </p:txBody>
      </p:sp>
      <p:sp>
        <p:nvSpPr>
          <p:cNvPr id="6" name="Text Box 5">
            <a:extLst>
              <a:ext uri="{FF2B5EF4-FFF2-40B4-BE49-F238E27FC236}">
                <a16:creationId xmlns:a16="http://schemas.microsoft.com/office/drawing/2014/main" id="{4A840E93-C021-9C4A-B19D-A0F1AB3BA6D8}"/>
              </a:ext>
            </a:extLst>
          </p:cNvPr>
          <p:cNvSpPr txBox="1">
            <a:spLocks noChangeArrowheads="1"/>
          </p:cNvSpPr>
          <p:nvPr userDrawn="1"/>
        </p:nvSpPr>
        <p:spPr bwMode="auto">
          <a:xfrm>
            <a:off x="611102" y="1306555"/>
            <a:ext cx="4844818" cy="19236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GB" altLang="en-US" sz="999" b="1" i="0" u="none" strike="noStrike" kern="1200" cap="none" spc="0" normalizeH="0" baseline="0" noProof="0" dirty="0">
                <a:ln>
                  <a:noFill/>
                </a:ln>
                <a:solidFill>
                  <a:prstClr val="white">
                    <a:lumMod val="95000"/>
                  </a:prstClr>
                </a:solidFill>
                <a:effectLst/>
                <a:uLnTx/>
                <a:uFillTx/>
                <a:latin typeface="EYInterstate Light" panose="02000506000000020004" pitchFamily="2" charset="0"/>
                <a:ea typeface="+mn-ea"/>
                <a:cs typeface="+mn-cs"/>
              </a:rPr>
              <a:t>About EY</a:t>
            </a:r>
          </a:p>
          <a:p>
            <a:pPr marL="0" marR="0" lvl="0" indent="0" algn="l" defTabSz="913943" rtl="0" eaLnBrk="1" fontAlgn="auto" latinLnBrk="0" hangingPunct="1">
              <a:lnSpc>
                <a:spcPct val="100000"/>
              </a:lnSpc>
              <a:spcBef>
                <a:spcPts val="0"/>
              </a:spcBef>
              <a:spcAft>
                <a:spcPts val="563"/>
              </a:spcAft>
              <a:buClrTx/>
              <a:buSzTx/>
              <a:buFontTx/>
              <a:buNone/>
              <a:tabLst/>
              <a:defRPr/>
            </a:pPr>
            <a:r>
              <a:rPr kumimoji="0" lang="en-IN" altLang="en-US" sz="999" b="0" i="0" u="none" strike="noStrike" kern="1200" cap="none" spc="0" normalizeH="0" baseline="0" noProof="0" dirty="0">
                <a:ln>
                  <a:noFill/>
                </a:ln>
                <a:solidFill>
                  <a:prstClr val="white">
                    <a:lumMod val="95000"/>
                  </a:prstClr>
                </a:solidFill>
                <a:effectLst/>
                <a:uLnTx/>
                <a:uFillTx/>
                <a:latin typeface="EYInterstate Light" panose="02000506000000020004" pitchFamily="2" charset="0"/>
                <a:ea typeface="+mn-ea"/>
                <a:cs typeface="+mn-cs"/>
              </a:rPr>
              <a:t>EY is a global leader in assurance, tax, transaction and advisory services. The insights and quality services we deliver help build trust and confidence in the capital markets and in economies the world over. We develop outstanding leaders who team to deliver on our promises to all of our stakeholders. In so doing, we play a critical role in building a better working world for our people, for our clients and for our communities.</a:t>
            </a:r>
          </a:p>
          <a:p>
            <a:pPr marL="0" marR="0" lvl="0" indent="0" algn="l" defTabSz="913943" rtl="0" eaLnBrk="1" fontAlgn="auto" latinLnBrk="0" hangingPunct="1">
              <a:lnSpc>
                <a:spcPct val="100000"/>
              </a:lnSpc>
              <a:spcBef>
                <a:spcPts val="0"/>
              </a:spcBef>
              <a:spcAft>
                <a:spcPts val="563"/>
              </a:spcAft>
              <a:buClrTx/>
              <a:buSzTx/>
              <a:buFontTx/>
              <a:buNone/>
              <a:tabLst/>
              <a:defRPr/>
            </a:pPr>
            <a:r>
              <a:rPr kumimoji="0" lang="en-IN" altLang="en-US" sz="999" b="0" i="0" u="none" strike="noStrike" kern="1200" cap="none" spc="0" normalizeH="0" baseline="0" noProof="0" dirty="0">
                <a:ln>
                  <a:noFill/>
                </a:ln>
                <a:solidFill>
                  <a:prstClr val="white">
                    <a:lumMod val="95000"/>
                  </a:prstClr>
                </a:solidFill>
                <a:effectLst/>
                <a:uLnTx/>
                <a:uFillTx/>
                <a:latin typeface="EYInterstate Light" panose="02000506000000020004" pitchFamily="2" charset="0"/>
                <a:ea typeface="+mn-ea"/>
                <a:cs typeface="+mn-cs"/>
              </a:rPr>
              <a:t>EY refers to the global organization, and may refer to one or more, of the member firms of Ernst &amp; Young Global Limited, each of which is a separate legal entity. Ernst &amp; Young Global Limited, a UK company limited by guarantee, does not provide services to clients. For more information about our organization, please visit ey.com.</a:t>
            </a:r>
            <a:endParaRPr kumimoji="0" lang="en-US" altLang="en-US" sz="999" b="0" i="0" u="none" strike="noStrike" kern="1200" cap="none" spc="0" normalizeH="0" baseline="0" noProof="0" dirty="0">
              <a:ln>
                <a:noFill/>
              </a:ln>
              <a:solidFill>
                <a:prstClr val="white">
                  <a:lumMod val="95000"/>
                </a:prstClr>
              </a:solidFill>
              <a:effectLst/>
              <a:uLnTx/>
              <a:uFillTx/>
              <a:latin typeface="EYInterstate Light" panose="02000506000000020004" pitchFamily="2" charset="0"/>
              <a:ea typeface="+mn-ea"/>
              <a:cs typeface="+mn-cs"/>
            </a:endParaRPr>
          </a:p>
        </p:txBody>
      </p:sp>
      <p:sp>
        <p:nvSpPr>
          <p:cNvPr id="7" name="Text Box 11">
            <a:extLst>
              <a:ext uri="{FF2B5EF4-FFF2-40B4-BE49-F238E27FC236}">
                <a16:creationId xmlns:a16="http://schemas.microsoft.com/office/drawing/2014/main" id="{79E63480-9A26-2B41-B506-AA4AFF8EA3B9}"/>
              </a:ext>
            </a:extLst>
          </p:cNvPr>
          <p:cNvSpPr txBox="1">
            <a:spLocks noChangeArrowheads="1"/>
          </p:cNvSpPr>
          <p:nvPr userDrawn="1"/>
        </p:nvSpPr>
        <p:spPr bwMode="auto">
          <a:xfrm>
            <a:off x="611103" y="3445978"/>
            <a:ext cx="4525355" cy="1231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IN" altLang="en-US" sz="800" b="0" i="0" u="none" strike="noStrike" kern="1200" cap="none" spc="0" normalizeH="0" baseline="0" noProof="0" dirty="0">
                <a:ln>
                  <a:noFill/>
                </a:ln>
                <a:solidFill>
                  <a:prstClr val="white">
                    <a:lumMod val="95000"/>
                  </a:prstClr>
                </a:solidFill>
                <a:effectLst/>
                <a:uLnTx/>
                <a:uFillTx/>
                <a:latin typeface="EYInterstate Light" panose="02000506000000020004" pitchFamily="2" charset="0"/>
                <a:ea typeface="+mn-ea"/>
                <a:cs typeface="+mn-cs"/>
              </a:rPr>
              <a:t>© 2020 Ernst &amp; Young LLP. Published in India. </a:t>
            </a:r>
            <a:br>
              <a:rPr kumimoji="0" lang="en-IN" altLang="en-US" sz="800" b="0" i="0" u="none" strike="noStrike" kern="1200" cap="none" spc="0" normalizeH="0" baseline="0" noProof="0" dirty="0">
                <a:ln>
                  <a:noFill/>
                </a:ln>
                <a:solidFill>
                  <a:prstClr val="white">
                    <a:lumMod val="95000"/>
                  </a:prstClr>
                </a:solidFill>
                <a:effectLst/>
                <a:uLnTx/>
                <a:uFillTx/>
                <a:latin typeface="EYInterstate Light" panose="02000506000000020004" pitchFamily="2" charset="0"/>
                <a:ea typeface="+mn-ea"/>
                <a:cs typeface="+mn-cs"/>
              </a:rPr>
            </a:br>
            <a:r>
              <a:rPr kumimoji="0" lang="en-IN" altLang="en-US" sz="800" b="0" i="0" u="none" strike="noStrike" kern="1200" cap="none" spc="0" normalizeH="0" baseline="0" noProof="0" dirty="0">
                <a:ln>
                  <a:noFill/>
                </a:ln>
                <a:solidFill>
                  <a:prstClr val="white">
                    <a:lumMod val="95000"/>
                  </a:prstClr>
                </a:solidFill>
                <a:effectLst/>
                <a:uLnTx/>
                <a:uFillTx/>
                <a:latin typeface="EYInterstate Light" panose="02000506000000020004" pitchFamily="2" charset="0"/>
                <a:ea typeface="+mn-ea"/>
                <a:cs typeface="+mn-cs"/>
              </a:rPr>
              <a:t>All Rights Reserved.</a:t>
            </a:r>
          </a:p>
          <a:p>
            <a:pPr marL="0" marR="0" lvl="0" indent="0" algn="l" defTabSz="913943" rtl="0" eaLnBrk="1" fontAlgn="auto" latinLnBrk="0" hangingPunct="1">
              <a:lnSpc>
                <a:spcPct val="100000"/>
              </a:lnSpc>
              <a:spcBef>
                <a:spcPts val="0"/>
              </a:spcBef>
              <a:spcAft>
                <a:spcPts val="0"/>
              </a:spcAft>
              <a:buClrTx/>
              <a:buSzTx/>
              <a:buFontTx/>
              <a:buNone/>
              <a:tabLst/>
              <a:defRPr/>
            </a:pPr>
            <a:r>
              <a:rPr kumimoji="0" lang="en-IN" altLang="en-US" sz="800" b="0" i="0" u="none" strike="noStrike" kern="1200" cap="none" spc="0" normalizeH="0" baseline="0" noProof="0" dirty="0">
                <a:ln>
                  <a:noFill/>
                </a:ln>
                <a:solidFill>
                  <a:prstClr val="white">
                    <a:lumMod val="95000"/>
                  </a:prstClr>
                </a:solidFill>
                <a:effectLst/>
                <a:uLnTx/>
                <a:uFillTx/>
                <a:latin typeface="EYInterstate Light" panose="02000506000000020004" pitchFamily="2" charset="0"/>
                <a:ea typeface="+mn-ea"/>
                <a:cs typeface="+mn-cs"/>
              </a:rPr>
              <a:t>ED None.</a:t>
            </a:r>
          </a:p>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IN" altLang="en-US" sz="800" b="0" i="0" u="none" strike="noStrike" kern="1200" cap="none" spc="0" normalizeH="0" baseline="0" noProof="0" dirty="0">
              <a:ln>
                <a:noFill/>
              </a:ln>
              <a:solidFill>
                <a:prstClr val="white">
                  <a:lumMod val="95000"/>
                </a:prstClr>
              </a:solidFill>
              <a:effectLst/>
              <a:uLnTx/>
              <a:uFillTx/>
              <a:latin typeface="EYInterstate Light" panose="02000506000000020004" pitchFamily="2" charset="0"/>
              <a:ea typeface="+mn-ea"/>
              <a:cs typeface="+mn-cs"/>
            </a:endParaRPr>
          </a:p>
          <a:p>
            <a:pPr marL="0" marR="0" lvl="0" indent="0" algn="l" defTabSz="913943" rtl="0" eaLnBrk="1" fontAlgn="auto" latinLnBrk="0" hangingPunct="1">
              <a:lnSpc>
                <a:spcPct val="100000"/>
              </a:lnSpc>
              <a:spcBef>
                <a:spcPts val="0"/>
              </a:spcBef>
              <a:spcAft>
                <a:spcPts val="0"/>
              </a:spcAft>
              <a:buClrTx/>
              <a:buSzTx/>
              <a:buFontTx/>
              <a:buNone/>
              <a:tabLst/>
              <a:defRPr/>
            </a:pPr>
            <a:r>
              <a:rPr kumimoji="0" lang="en-IN" altLang="en-US" sz="800" b="0" i="0" u="none" strike="noStrike" kern="1200" cap="none" spc="0" normalizeH="0" baseline="0" noProof="0" dirty="0">
                <a:ln>
                  <a:noFill/>
                </a:ln>
                <a:solidFill>
                  <a:prstClr val="white">
                    <a:lumMod val="95000"/>
                  </a:prstClr>
                </a:solidFill>
                <a:effectLst/>
                <a:uLnTx/>
                <a:uFillTx/>
                <a:latin typeface="EYInterstate Light" panose="02000506000000020004" pitchFamily="2" charset="0"/>
                <a:ea typeface="+mn-ea"/>
                <a:cs typeface="+mn-cs"/>
              </a:rPr>
              <a:t>This publication contains information in summary form and is therefore intended for general guidance only. It is not intended to be a substitute for detailed research or the exercise of professional judgment. Neither EYGM Limited nor any other member of the global Ernst &amp; Young organization can accept any responsibility for loss occasioned to any person acting or refraining from action as a result of any material in this publication. On any specific matter, reference should be made to the appropriate advisor.</a:t>
            </a:r>
          </a:p>
        </p:txBody>
      </p:sp>
    </p:spTree>
    <p:extLst>
      <p:ext uri="{BB962C8B-B14F-4D97-AF65-F5344CB8AC3E}">
        <p14:creationId xmlns:p14="http://schemas.microsoft.com/office/powerpoint/2010/main" val="13398402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7"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C7A5B6-CE79-4263-B6E4-B0A082EF34BF}"/>
              </a:ext>
            </a:extLst>
          </p:cNvPr>
          <p:cNvGraphicFramePr>
            <a:graphicFrameLocks noChangeAspect="1"/>
          </p:cNvGraphicFramePr>
          <p:nvPr userDrawn="1">
            <p:custDataLst>
              <p:tags r:id="rId6"/>
            </p:custDataLst>
            <p:extLst>
              <p:ext uri="{D42A27DB-BD31-4B8C-83A1-F6EECF244321}">
                <p14:modId xmlns:p14="http://schemas.microsoft.com/office/powerpoint/2010/main" val="211758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8" imgH="408" progId="TCLayout.ActiveDocument.1">
                  <p:embed/>
                </p:oleObj>
              </mc:Choice>
              <mc:Fallback>
                <p:oleObj name="think-cell Slide" r:id="rId8" imgW="408" imgH="408" progId="TCLayout.ActiveDocument.1">
                  <p:embed/>
                  <p:pic>
                    <p:nvPicPr>
                      <p:cNvPr id="2" name="Object 1" hidden="1">
                        <a:extLst>
                          <a:ext uri="{FF2B5EF4-FFF2-40B4-BE49-F238E27FC236}">
                            <a16:creationId xmlns:a16="http://schemas.microsoft.com/office/drawing/2014/main" id="{9CC7A5B6-CE79-4263-B6E4-B0A082EF34B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25D57503-C967-4BAF-8480-77B1BFF52FE2}"/>
              </a:ext>
            </a:extLst>
          </p:cNvPr>
          <p:cNvSpPr>
            <a:spLocks/>
          </p:cNvSpPr>
          <p:nvPr userDrawn="1"/>
        </p:nvSpPr>
        <p:spPr>
          <a:xfrm>
            <a:off x="11518013" y="6620580"/>
            <a:ext cx="476119" cy="147419"/>
          </a:xfrm>
          <a:prstGeom prst="rect">
            <a:avLst/>
          </a:prstGeom>
        </p:spPr>
        <p:txBody>
          <a:bodyPr vert="horz" lIns="91392" tIns="45696" rIns="91392" bIns="45696" rtlCol="0" anchor="ctr"/>
          <a:lstStyle/>
          <a:p>
            <a:pPr lvl="0" algn="ctr"/>
            <a:fld id="{A8397B2D-3180-4E58-A6CA-CF69DA1A46A7}" type="slidenum">
              <a:rPr lang="en-IN" sz="900" b="0" i="0" smtClean="0">
                <a:solidFill>
                  <a:srgbClr val="161C2A"/>
                </a:solidFill>
                <a:latin typeface="EYInterstate Light" panose="02000506000000020004" pitchFamily="2" charset="0"/>
                <a:cs typeface="Arial" panose="020B0604020202020204" pitchFamily="34" charset="0"/>
              </a:rPr>
              <a:t>‹#›</a:t>
            </a:fld>
            <a:endParaRPr lang="en-IN" sz="1099" b="0" i="0">
              <a:solidFill>
                <a:srgbClr val="161C2A"/>
              </a:solidFill>
              <a:latin typeface="EYInterstate Light" panose="02000506000000020004" pitchFamily="2" charset="0"/>
              <a:cs typeface="Arial" panose="020B0604020202020204" pitchFamily="34" charset="0"/>
            </a:endParaRPr>
          </a:p>
        </p:txBody>
      </p:sp>
    </p:spTree>
    <p:extLst>
      <p:ext uri="{BB962C8B-B14F-4D97-AF65-F5344CB8AC3E}">
        <p14:creationId xmlns:p14="http://schemas.microsoft.com/office/powerpoint/2010/main" val="270364012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hf sldNum="0" hdr="0" dt="0"/>
  <p:txStyles>
    <p:titleStyle>
      <a:lvl1pPr algn="l" defTabSz="913943" rtl="0" eaLnBrk="1" latinLnBrk="0" hangingPunct="1">
        <a:lnSpc>
          <a:spcPct val="90000"/>
        </a:lnSpc>
        <a:spcBef>
          <a:spcPct val="0"/>
        </a:spcBef>
        <a:buNone/>
        <a:defRPr sz="4398" kern="1200">
          <a:solidFill>
            <a:schemeClr val="tx1"/>
          </a:solidFill>
          <a:latin typeface="+mj-lt"/>
          <a:ea typeface="+mj-ea"/>
          <a:cs typeface="+mj-cs"/>
        </a:defRPr>
      </a:lvl1pPr>
    </p:titleStyle>
    <p:bodyStyle>
      <a:lvl1pPr marL="228486" indent="-228486" algn="l" defTabSz="913943" rtl="0" eaLnBrk="1" latinLnBrk="0" hangingPunct="1">
        <a:lnSpc>
          <a:spcPct val="90000"/>
        </a:lnSpc>
        <a:spcBef>
          <a:spcPts val="999"/>
        </a:spcBef>
        <a:buFont typeface="Arial" panose="020B0604020202020204" pitchFamily="34" charset="0"/>
        <a:buChar char="•"/>
        <a:defRPr sz="2799" kern="1200">
          <a:solidFill>
            <a:schemeClr val="tx1"/>
          </a:solidFill>
          <a:latin typeface="+mn-lt"/>
          <a:ea typeface="+mn-ea"/>
          <a:cs typeface="+mn-cs"/>
        </a:defRPr>
      </a:lvl1pPr>
      <a:lvl2pPr marL="685457" indent="-228486" algn="l" defTabSz="913943"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429" indent="-228486" algn="l" defTabSz="913943"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400" indent="-228486" algn="l" defTabSz="91394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371" indent="-228486" algn="l" defTabSz="91394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343" indent="-228486" algn="l" defTabSz="91394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14" indent="-228486" algn="l" defTabSz="91394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286" indent="-228486" algn="l" defTabSz="91394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257" indent="-228486" algn="l" defTabSz="91394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03">
          <p15:clr>
            <a:srgbClr val="F26B43"/>
          </p15:clr>
        </p15:guide>
        <p15:guide id="2" pos="365">
          <p15:clr>
            <a:srgbClr val="F26B43"/>
          </p15:clr>
        </p15:guide>
        <p15:guide id="3" orient="horz" pos="4098">
          <p15:clr>
            <a:srgbClr val="F26B43"/>
          </p15:clr>
        </p15:guide>
        <p15:guide id="4" pos="7308">
          <p15:clr>
            <a:srgbClr val="F26B43"/>
          </p15:clr>
        </p15:guide>
        <p15:guide id="5" orient="horz" pos="1144">
          <p15:clr>
            <a:srgbClr val="F26B43"/>
          </p15:clr>
        </p15:guide>
        <p15:guide id="6" orient="horz" pos="399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hyperlink" Target="https://ourworldindata.org/travel-carbon-footprint" TargetMode="External"/><Relationship Id="rId2" Type="http://schemas.openxmlformats.org/officeDocument/2006/relationships/slideLayout" Target="../slideLayouts/slideLayout3.xml"/><Relationship Id="rId1" Type="http://schemas.openxmlformats.org/officeDocument/2006/relationships/tags" Target="../tags/tag3.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2.emf"/></Relationships>
</file>

<file path=ppt/slides/_rels/slide6.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oleObject" Target="../embeddings/oleObject3.bin"/><Relationship Id="rId7" Type="http://schemas.openxmlformats.org/officeDocument/2006/relationships/image" Target="../media/image10.jpeg"/><Relationship Id="rId2" Type="http://schemas.openxmlformats.org/officeDocument/2006/relationships/slideLayout" Target="../slideLayouts/slideLayout3.xml"/><Relationship Id="rId1" Type="http://schemas.openxmlformats.org/officeDocument/2006/relationships/tags" Target="../tags/tag4.xml"/><Relationship Id="rId6" Type="http://schemas.openxmlformats.org/officeDocument/2006/relationships/image" Target="../media/image9.jpeg"/><Relationship Id="rId5" Type="http://schemas.openxmlformats.org/officeDocument/2006/relationships/image" Target="../media/image8.jpeg"/><Relationship Id="rId10" Type="http://schemas.openxmlformats.org/officeDocument/2006/relationships/image" Target="../media/image13.png"/><Relationship Id="rId4" Type="http://schemas.openxmlformats.org/officeDocument/2006/relationships/image" Target="../media/image2.emf"/><Relationship Id="rId9"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 Id="rId5" Type="http://schemas.openxmlformats.org/officeDocument/2006/relationships/image" Target="../media/image17.png"/><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E46AA8-F2E8-4ECB-B3DD-8B092EADD57F}"/>
              </a:ext>
            </a:extLst>
          </p:cNvPr>
          <p:cNvSpPr>
            <a:spLocks noGrp="1"/>
          </p:cNvSpPr>
          <p:nvPr>
            <p:ph type="ctrTitle"/>
          </p:nvPr>
        </p:nvSpPr>
        <p:spPr/>
        <p:txBody>
          <a:bodyPr/>
          <a:lstStyle/>
          <a:p>
            <a:r>
              <a:rPr lang="da-DK" dirty="0"/>
              <a:t>Call for Code Challenge</a:t>
            </a:r>
          </a:p>
        </p:txBody>
      </p:sp>
      <p:sp>
        <p:nvSpPr>
          <p:cNvPr id="3" name="Subtitle 2">
            <a:extLst>
              <a:ext uri="{FF2B5EF4-FFF2-40B4-BE49-F238E27FC236}">
                <a16:creationId xmlns:a16="http://schemas.microsoft.com/office/drawing/2014/main" id="{F7354FD6-67C7-4140-A220-36185388888A}"/>
              </a:ext>
            </a:extLst>
          </p:cNvPr>
          <p:cNvSpPr>
            <a:spLocks noGrp="1"/>
          </p:cNvSpPr>
          <p:nvPr>
            <p:ph type="subTitle" idx="1"/>
          </p:nvPr>
        </p:nvSpPr>
        <p:spPr/>
        <p:txBody>
          <a:bodyPr/>
          <a:lstStyle/>
          <a:p>
            <a:r>
              <a:rPr lang="en-US" dirty="0"/>
              <a:t>Online </a:t>
            </a:r>
            <a:r>
              <a:rPr lang="en-US" dirty="0" err="1"/>
              <a:t>shoping</a:t>
            </a:r>
            <a:r>
              <a:rPr lang="en-US" dirty="0"/>
              <a:t> with minimum carbon footprint project</a:t>
            </a:r>
            <a:endParaRPr lang="da-DK" dirty="0"/>
          </a:p>
          <a:p>
            <a:r>
              <a:rPr lang="da-DK" dirty="0"/>
              <a:t>Team 1</a:t>
            </a:r>
          </a:p>
          <a:p>
            <a:endParaRPr lang="da-DK" dirty="0"/>
          </a:p>
        </p:txBody>
      </p:sp>
    </p:spTree>
    <p:extLst>
      <p:ext uri="{BB962C8B-B14F-4D97-AF65-F5344CB8AC3E}">
        <p14:creationId xmlns:p14="http://schemas.microsoft.com/office/powerpoint/2010/main" val="33453057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67BE67E-54AC-4975-8802-0360863835CF}"/>
              </a:ext>
            </a:extLst>
          </p:cNvPr>
          <p:cNvSpPr>
            <a:spLocks noGrp="1"/>
          </p:cNvSpPr>
          <p:nvPr>
            <p:ph type="ctrTitle"/>
          </p:nvPr>
        </p:nvSpPr>
        <p:spPr/>
        <p:txBody>
          <a:bodyPr/>
          <a:lstStyle/>
          <a:p>
            <a:r>
              <a:rPr lang="en-IN" dirty="0"/>
              <a:t>ESG - Challenge</a:t>
            </a:r>
          </a:p>
        </p:txBody>
      </p:sp>
      <p:pic>
        <p:nvPicPr>
          <p:cNvPr id="12" name="Picture 11">
            <a:extLst>
              <a:ext uri="{FF2B5EF4-FFF2-40B4-BE49-F238E27FC236}">
                <a16:creationId xmlns:a16="http://schemas.microsoft.com/office/drawing/2014/main" id="{C5870D7B-246F-40CC-B589-634E9EF47CAC}"/>
              </a:ext>
            </a:extLst>
          </p:cNvPr>
          <p:cNvPicPr>
            <a:picLocks noChangeAspect="1"/>
          </p:cNvPicPr>
          <p:nvPr/>
        </p:nvPicPr>
        <p:blipFill>
          <a:blip r:embed="rId2"/>
          <a:stretch>
            <a:fillRect/>
          </a:stretch>
        </p:blipFill>
        <p:spPr>
          <a:xfrm>
            <a:off x="836253" y="1812583"/>
            <a:ext cx="10615941" cy="2359922"/>
          </a:xfrm>
          <a:prstGeom prst="rect">
            <a:avLst/>
          </a:prstGeom>
        </p:spPr>
      </p:pic>
      <p:sp>
        <p:nvSpPr>
          <p:cNvPr id="13" name="TextBox 12">
            <a:extLst>
              <a:ext uri="{FF2B5EF4-FFF2-40B4-BE49-F238E27FC236}">
                <a16:creationId xmlns:a16="http://schemas.microsoft.com/office/drawing/2014/main" id="{5B355F40-164E-47A0-AF39-BED2B3A2DD7B}"/>
              </a:ext>
            </a:extLst>
          </p:cNvPr>
          <p:cNvSpPr txBox="1"/>
          <p:nvPr/>
        </p:nvSpPr>
        <p:spPr>
          <a:xfrm>
            <a:off x="763480" y="4568308"/>
            <a:ext cx="10688714" cy="1477328"/>
          </a:xfrm>
          <a:prstGeom prst="rect">
            <a:avLst/>
          </a:prstGeom>
          <a:noFill/>
        </p:spPr>
        <p:txBody>
          <a:bodyPr wrap="square" rtlCol="0">
            <a:spAutoFit/>
          </a:bodyPr>
          <a:lstStyle/>
          <a:p>
            <a:r>
              <a:rPr lang="en-IN" dirty="0">
                <a:solidFill>
                  <a:schemeClr val="bg1"/>
                </a:solidFill>
              </a:rPr>
              <a:t>Responsible consumption and distribution</a:t>
            </a:r>
          </a:p>
          <a:p>
            <a:pPr marL="285750" indent="-285750">
              <a:buFont typeface="Arial" panose="020B0604020202020204" pitchFamily="34" charset="0"/>
              <a:buChar char="•"/>
            </a:pPr>
            <a:r>
              <a:rPr lang="en-IN" dirty="0">
                <a:solidFill>
                  <a:schemeClr val="bg1"/>
                </a:solidFill>
              </a:rPr>
              <a:t>Decarbonization in supply chain logistics</a:t>
            </a:r>
          </a:p>
          <a:p>
            <a:pPr marL="742950" lvl="1" indent="-285750">
              <a:buFont typeface="Arial" panose="020B0604020202020204" pitchFamily="34" charset="0"/>
              <a:buChar char="•"/>
            </a:pPr>
            <a:r>
              <a:rPr lang="en-IN" dirty="0">
                <a:solidFill>
                  <a:schemeClr val="bg1"/>
                </a:solidFill>
              </a:rPr>
              <a:t>Urban freight in tier 1 and 2 cities has resulted in increased carbon footprint and reduced air quality</a:t>
            </a:r>
          </a:p>
          <a:p>
            <a:pPr marL="742950" lvl="1" indent="-285750">
              <a:buFont typeface="Arial" panose="020B0604020202020204" pitchFamily="34" charset="0"/>
              <a:buChar char="•"/>
            </a:pPr>
            <a:r>
              <a:rPr lang="en-IN" dirty="0">
                <a:solidFill>
                  <a:schemeClr val="bg1"/>
                </a:solidFill>
              </a:rPr>
              <a:t>Wastage of perishable products</a:t>
            </a:r>
          </a:p>
          <a:p>
            <a:pPr marL="742950" lvl="1" indent="-285750">
              <a:buFont typeface="Arial" panose="020B0604020202020204" pitchFamily="34" charset="0"/>
              <a:buChar char="•"/>
            </a:pPr>
            <a:r>
              <a:rPr lang="en-IN" dirty="0">
                <a:solidFill>
                  <a:schemeClr val="bg1"/>
                </a:solidFill>
              </a:rPr>
              <a:t>Losses to farmers, distributors and retailers</a:t>
            </a:r>
          </a:p>
        </p:txBody>
      </p:sp>
    </p:spTree>
    <p:extLst>
      <p:ext uri="{BB962C8B-B14F-4D97-AF65-F5344CB8AC3E}">
        <p14:creationId xmlns:p14="http://schemas.microsoft.com/office/powerpoint/2010/main" val="13746435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67BE67E-54AC-4975-8802-0360863835CF}"/>
              </a:ext>
            </a:extLst>
          </p:cNvPr>
          <p:cNvSpPr>
            <a:spLocks noGrp="1"/>
          </p:cNvSpPr>
          <p:nvPr>
            <p:ph type="ctrTitle"/>
          </p:nvPr>
        </p:nvSpPr>
        <p:spPr/>
        <p:txBody>
          <a:bodyPr/>
          <a:lstStyle/>
          <a:p>
            <a:r>
              <a:rPr lang="en-IN" dirty="0">
                <a:solidFill>
                  <a:schemeClr val="bg1"/>
                </a:solidFill>
              </a:rPr>
              <a:t>Responsible consumption and distribution</a:t>
            </a:r>
          </a:p>
        </p:txBody>
      </p:sp>
      <p:graphicFrame>
        <p:nvGraphicFramePr>
          <p:cNvPr id="6" name="Content Placeholder 4">
            <a:extLst>
              <a:ext uri="{FF2B5EF4-FFF2-40B4-BE49-F238E27FC236}">
                <a16:creationId xmlns:a16="http://schemas.microsoft.com/office/drawing/2014/main" id="{BBA015C5-A577-4930-8296-2D1D0CDE5A32}"/>
              </a:ext>
            </a:extLst>
          </p:cNvPr>
          <p:cNvGraphicFramePr>
            <a:graphicFrameLocks/>
          </p:cNvGraphicFramePr>
          <p:nvPr>
            <p:extLst>
              <p:ext uri="{D42A27DB-BD31-4B8C-83A1-F6EECF244321}">
                <p14:modId xmlns:p14="http://schemas.microsoft.com/office/powerpoint/2010/main" val="2567710549"/>
              </p:ext>
            </p:extLst>
          </p:nvPr>
        </p:nvGraphicFramePr>
        <p:xfrm>
          <a:off x="-323057" y="1537957"/>
          <a:ext cx="11212496" cy="453898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Oval 4">
            <a:extLst>
              <a:ext uri="{FF2B5EF4-FFF2-40B4-BE49-F238E27FC236}">
                <a16:creationId xmlns:a16="http://schemas.microsoft.com/office/drawing/2014/main" id="{E57AFE32-F53C-4199-9BEC-07DAA225DC64}"/>
              </a:ext>
            </a:extLst>
          </p:cNvPr>
          <p:cNvSpPr/>
          <p:nvPr/>
        </p:nvSpPr>
        <p:spPr>
          <a:xfrm>
            <a:off x="9025128" y="3023025"/>
            <a:ext cx="1713388" cy="176665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500" dirty="0"/>
              <a:t>User can select the supplier based on accreditation</a:t>
            </a:r>
          </a:p>
        </p:txBody>
      </p:sp>
    </p:spTree>
    <p:extLst>
      <p:ext uri="{BB962C8B-B14F-4D97-AF65-F5344CB8AC3E}">
        <p14:creationId xmlns:p14="http://schemas.microsoft.com/office/powerpoint/2010/main" val="13970995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D8571A51-2130-406A-B95A-18EE7616E96E}"/>
              </a:ext>
            </a:extLst>
          </p:cNvPr>
          <p:cNvSpPr>
            <a:spLocks noGrp="1"/>
          </p:cNvSpPr>
          <p:nvPr>
            <p:ph idx="1"/>
          </p:nvPr>
        </p:nvSpPr>
        <p:spPr>
          <a:xfrm>
            <a:off x="472355" y="1537527"/>
            <a:ext cx="11503621" cy="4853478"/>
          </a:xfrm>
        </p:spPr>
        <p:txBody>
          <a:bodyPr/>
          <a:lstStyle/>
          <a:p>
            <a:pPr defTabSz="914400"/>
            <a:r>
              <a:rPr lang="en-IN" sz="1600" dirty="0">
                <a:latin typeface="+mn-lt"/>
              </a:rPr>
              <a:t>Create an app to identify the best route of delivery from source to destination of perishable products using geo/spatial APIs</a:t>
            </a:r>
          </a:p>
          <a:p>
            <a:pPr defTabSz="914400"/>
            <a:endParaRPr lang="en-IN" sz="1600" dirty="0">
              <a:latin typeface="+mn-lt"/>
            </a:endParaRPr>
          </a:p>
          <a:p>
            <a:pPr defTabSz="914400"/>
            <a:endParaRPr lang="en-IN" sz="1600" dirty="0">
              <a:latin typeface="+mn-lt"/>
            </a:endParaRPr>
          </a:p>
          <a:p>
            <a:pPr defTabSz="914400"/>
            <a:r>
              <a:rPr lang="en-IN" sz="1600" dirty="0">
                <a:latin typeface="+mn-lt"/>
              </a:rPr>
              <a:t>Based on the route, the app suggests multiple vehicles that could be used for transportation along with the carbon footprint details of each vehicle based on historic records vehicular data available in the market</a:t>
            </a:r>
          </a:p>
          <a:p>
            <a:pPr defTabSz="914400"/>
            <a:endParaRPr lang="en-IN" sz="1600" dirty="0">
              <a:latin typeface="+mn-lt"/>
            </a:endParaRPr>
          </a:p>
          <a:p>
            <a:pPr defTabSz="914400"/>
            <a:endParaRPr lang="en-IN" sz="1600" dirty="0">
              <a:latin typeface="+mn-lt"/>
            </a:endParaRPr>
          </a:p>
          <a:p>
            <a:pPr defTabSz="914400"/>
            <a:r>
              <a:rPr lang="en-IN" sz="1600" dirty="0">
                <a:latin typeface="+mn-lt"/>
              </a:rPr>
              <a:t>The vehicle with the lowest carbon footprint and feasible economically would be recommended as the ideal vehicle choice to be picked by the vendor</a:t>
            </a:r>
          </a:p>
          <a:p>
            <a:pPr defTabSz="914400"/>
            <a:endParaRPr lang="en-IN" sz="1600" dirty="0">
              <a:latin typeface="+mn-lt"/>
            </a:endParaRPr>
          </a:p>
          <a:p>
            <a:pPr defTabSz="914400"/>
            <a:endParaRPr lang="en-IN" sz="1600" dirty="0">
              <a:latin typeface="+mn-lt"/>
            </a:endParaRPr>
          </a:p>
          <a:p>
            <a:pPr defTabSz="914400"/>
            <a:r>
              <a:rPr lang="en-IN" sz="1600" dirty="0">
                <a:latin typeface="+mn-lt"/>
              </a:rPr>
              <a:t>Based on the vendor selection criteria, each vendor/supplier would be rated/accredited across various platforms known as ‘ESG Rating’</a:t>
            </a:r>
          </a:p>
          <a:p>
            <a:pPr defTabSz="914400"/>
            <a:endParaRPr lang="en-IN" sz="1600" dirty="0">
              <a:latin typeface="+mn-lt"/>
            </a:endParaRPr>
          </a:p>
          <a:p>
            <a:pPr defTabSz="914400"/>
            <a:endParaRPr lang="en-IN" sz="1600" dirty="0">
              <a:latin typeface="+mn-lt"/>
            </a:endParaRPr>
          </a:p>
          <a:p>
            <a:pPr defTabSz="914400"/>
            <a:r>
              <a:rPr lang="en-IN" sz="1600" dirty="0">
                <a:latin typeface="+mn-lt"/>
              </a:rPr>
              <a:t>Other features to include as part of the ratings would be the environmental impact of the packaging material/plastic used, innovations that are implemented in packaging to reduce carbon footprint, loss of perishable products due to transportation/factors in control of the vendors and timely deliveries, etc.</a:t>
            </a:r>
            <a:endParaRPr lang="en-IN" sz="1400" dirty="0"/>
          </a:p>
        </p:txBody>
      </p:sp>
      <p:sp>
        <p:nvSpPr>
          <p:cNvPr id="3" name="Title 2">
            <a:extLst>
              <a:ext uri="{FF2B5EF4-FFF2-40B4-BE49-F238E27FC236}">
                <a16:creationId xmlns:a16="http://schemas.microsoft.com/office/drawing/2014/main" id="{967BE67E-54AC-4975-8802-0360863835CF}"/>
              </a:ext>
            </a:extLst>
          </p:cNvPr>
          <p:cNvSpPr>
            <a:spLocks noGrp="1"/>
          </p:cNvSpPr>
          <p:nvPr>
            <p:ph type="ctrTitle"/>
          </p:nvPr>
        </p:nvSpPr>
        <p:spPr/>
        <p:txBody>
          <a:bodyPr/>
          <a:lstStyle/>
          <a:p>
            <a:r>
              <a:rPr lang="en-IN" dirty="0"/>
              <a:t>IBM &lt;&gt; based App</a:t>
            </a:r>
          </a:p>
        </p:txBody>
      </p:sp>
    </p:spTree>
    <p:extLst>
      <p:ext uri="{BB962C8B-B14F-4D97-AF65-F5344CB8AC3E}">
        <p14:creationId xmlns:p14="http://schemas.microsoft.com/office/powerpoint/2010/main" val="6699749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E119F00-160D-4174-9F56-197B77763044}"/>
              </a:ext>
            </a:extLst>
          </p:cNvPr>
          <p:cNvGraphicFramePr>
            <a:graphicFrameLocks noChangeAspect="1"/>
          </p:cNvGraphicFramePr>
          <p:nvPr>
            <p:custDataLst>
              <p:tags r:id="rId1"/>
            </p:custDataLst>
            <p:extLst>
              <p:ext uri="{D42A27DB-BD31-4B8C-83A1-F6EECF244321}">
                <p14:modId xmlns:p14="http://schemas.microsoft.com/office/powerpoint/2010/main" val="2130691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DE119F00-160D-4174-9F56-197B777630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30" name="Picture 6" descr="See the source image">
            <a:extLst>
              <a:ext uri="{FF2B5EF4-FFF2-40B4-BE49-F238E27FC236}">
                <a16:creationId xmlns:a16="http://schemas.microsoft.com/office/drawing/2014/main" id="{3773D5D5-B926-4EFF-B6E6-316D838238E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9309" b="24734"/>
          <a:stretch/>
        </p:blipFill>
        <p:spPr bwMode="auto">
          <a:xfrm>
            <a:off x="1751611" y="1689332"/>
            <a:ext cx="8449294" cy="4227616"/>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See the source image">
            <a:extLst>
              <a:ext uri="{FF2B5EF4-FFF2-40B4-BE49-F238E27FC236}">
                <a16:creationId xmlns:a16="http://schemas.microsoft.com/office/drawing/2014/main" id="{E68EFA24-7561-4A5B-B740-3105F6DF3AE3}"/>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644" b="11567"/>
          <a:stretch/>
        </p:blipFill>
        <p:spPr bwMode="auto">
          <a:xfrm>
            <a:off x="2809073" y="1997831"/>
            <a:ext cx="6294805" cy="358067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EC96C83E-B442-476F-94F1-F4ECF50E2981}"/>
              </a:ext>
            </a:extLst>
          </p:cNvPr>
          <p:cNvSpPr>
            <a:spLocks noGrp="1"/>
          </p:cNvSpPr>
          <p:nvPr>
            <p:ph type="ctrTitle"/>
          </p:nvPr>
        </p:nvSpPr>
        <p:spPr/>
        <p:txBody>
          <a:bodyPr vert="horz"/>
          <a:lstStyle/>
          <a:p>
            <a:r>
              <a:rPr lang="en-US"/>
              <a:t>Wireframe</a:t>
            </a:r>
          </a:p>
        </p:txBody>
      </p:sp>
      <p:sp>
        <p:nvSpPr>
          <p:cNvPr id="4" name="Subtitle 3">
            <a:extLst>
              <a:ext uri="{FF2B5EF4-FFF2-40B4-BE49-F238E27FC236}">
                <a16:creationId xmlns:a16="http://schemas.microsoft.com/office/drawing/2014/main" id="{5A1E54EA-47AE-4A54-9ABB-B0EBB5EA832D}"/>
              </a:ext>
            </a:extLst>
          </p:cNvPr>
          <p:cNvSpPr>
            <a:spLocks noGrp="1"/>
          </p:cNvSpPr>
          <p:nvPr>
            <p:ph type="subTitle" idx="13"/>
          </p:nvPr>
        </p:nvSpPr>
        <p:spPr/>
        <p:txBody>
          <a:bodyPr/>
          <a:lstStyle/>
          <a:p>
            <a:r>
              <a:rPr lang="en-US"/>
              <a:t>Illustration through an Enterprise Order Management System</a:t>
            </a:r>
          </a:p>
        </p:txBody>
      </p:sp>
      <p:sp>
        <p:nvSpPr>
          <p:cNvPr id="6" name="Rectangle 5">
            <a:extLst>
              <a:ext uri="{FF2B5EF4-FFF2-40B4-BE49-F238E27FC236}">
                <a16:creationId xmlns:a16="http://schemas.microsoft.com/office/drawing/2014/main" id="{C0E5AD34-23C9-48BB-8237-FC4733590C17}"/>
              </a:ext>
            </a:extLst>
          </p:cNvPr>
          <p:cNvSpPr/>
          <p:nvPr/>
        </p:nvSpPr>
        <p:spPr>
          <a:xfrm>
            <a:off x="6774873" y="2271222"/>
            <a:ext cx="2090057" cy="3078011"/>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B6565A67-28FC-4CCC-95A2-61BC2D5DC5A6}"/>
              </a:ext>
            </a:extLst>
          </p:cNvPr>
          <p:cNvSpPr txBox="1"/>
          <p:nvPr/>
        </p:nvSpPr>
        <p:spPr>
          <a:xfrm>
            <a:off x="6846125" y="2348413"/>
            <a:ext cx="1911927" cy="3000821"/>
          </a:xfrm>
          <a:prstGeom prst="rect">
            <a:avLst/>
          </a:prstGeom>
          <a:noFill/>
        </p:spPr>
        <p:txBody>
          <a:bodyPr wrap="square" rtlCol="0">
            <a:spAutoFit/>
          </a:bodyPr>
          <a:lstStyle/>
          <a:p>
            <a:r>
              <a:rPr lang="en-US" sz="900" b="1"/>
              <a:t>Shipping options</a:t>
            </a:r>
          </a:p>
          <a:p>
            <a:endParaRPr lang="en-US" sz="900"/>
          </a:p>
          <a:p>
            <a:endParaRPr lang="en-US" sz="900"/>
          </a:p>
          <a:p>
            <a:pPr marL="228600" indent="-228600">
              <a:buAutoNum type="arabicPeriod"/>
            </a:pPr>
            <a:r>
              <a:rPr lang="en-US" sz="900"/>
              <a:t>DHL Express (Electric Vehicle)* </a:t>
            </a:r>
            <a:br>
              <a:rPr lang="en-US" sz="900"/>
            </a:br>
            <a:br>
              <a:rPr lang="en-US" sz="900"/>
            </a:br>
            <a:r>
              <a:rPr lang="en-US" sz="700">
                <a:solidFill>
                  <a:schemeClr val="accent3">
                    <a:lumMod val="75000"/>
                  </a:schemeClr>
                </a:solidFill>
              </a:rPr>
              <a:t>Est. carbon footprint: </a:t>
            </a:r>
            <a:r>
              <a:rPr lang="en-US" sz="700">
                <a:solidFill>
                  <a:srgbClr val="00B050"/>
                </a:solidFill>
              </a:rPr>
              <a:t>130kg</a:t>
            </a:r>
            <a:br>
              <a:rPr lang="en-US" sz="700">
                <a:solidFill>
                  <a:schemeClr val="accent3">
                    <a:lumMod val="75000"/>
                  </a:schemeClr>
                </a:solidFill>
              </a:rPr>
            </a:br>
            <a:r>
              <a:rPr lang="en-US" sz="700">
                <a:solidFill>
                  <a:schemeClr val="accent3">
                    <a:lumMod val="60000"/>
                    <a:lumOff val="40000"/>
                  </a:schemeClr>
                </a:solidFill>
              </a:rPr>
              <a:t>Supplier ESG score: 10</a:t>
            </a:r>
            <a:br>
              <a:rPr lang="en-US" sz="700">
                <a:solidFill>
                  <a:schemeClr val="accent3">
                    <a:lumMod val="60000"/>
                    <a:lumOff val="40000"/>
                  </a:schemeClr>
                </a:solidFill>
              </a:rPr>
            </a:br>
            <a:r>
              <a:rPr lang="en-US" sz="700">
                <a:solidFill>
                  <a:schemeClr val="accent3">
                    <a:lumMod val="60000"/>
                    <a:lumOff val="40000"/>
                  </a:schemeClr>
                </a:solidFill>
              </a:rPr>
              <a:t>Accreditations: 5</a:t>
            </a:r>
            <a:br>
              <a:rPr lang="en-US" sz="900"/>
            </a:br>
            <a:br>
              <a:rPr lang="en-US" sz="900"/>
            </a:br>
            <a:endParaRPr lang="en-US" sz="900"/>
          </a:p>
          <a:p>
            <a:pPr marL="228600" indent="-228600">
              <a:buAutoNum type="arabicPeriod"/>
            </a:pPr>
            <a:r>
              <a:rPr lang="en-US" sz="900"/>
              <a:t>FedEx</a:t>
            </a:r>
            <a:br>
              <a:rPr lang="en-US" sz="900"/>
            </a:br>
            <a:br>
              <a:rPr lang="en-US" sz="900"/>
            </a:br>
            <a:r>
              <a:rPr lang="en-US" sz="700">
                <a:solidFill>
                  <a:schemeClr val="accent3">
                    <a:lumMod val="75000"/>
                  </a:schemeClr>
                </a:solidFill>
              </a:rPr>
              <a:t>Est. carbon footprint: </a:t>
            </a:r>
            <a:r>
              <a:rPr lang="en-US" sz="700">
                <a:solidFill>
                  <a:schemeClr val="accent2">
                    <a:lumMod val="60000"/>
                    <a:lumOff val="40000"/>
                  </a:schemeClr>
                </a:solidFill>
              </a:rPr>
              <a:t>427kg</a:t>
            </a:r>
            <a:br>
              <a:rPr lang="en-US" sz="700">
                <a:solidFill>
                  <a:schemeClr val="accent3">
                    <a:lumMod val="75000"/>
                  </a:schemeClr>
                </a:solidFill>
              </a:rPr>
            </a:br>
            <a:r>
              <a:rPr lang="en-US" sz="700">
                <a:solidFill>
                  <a:schemeClr val="accent3">
                    <a:lumMod val="60000"/>
                    <a:lumOff val="40000"/>
                  </a:schemeClr>
                </a:solidFill>
              </a:rPr>
              <a:t>Supplier ESG score: 5</a:t>
            </a:r>
            <a:br>
              <a:rPr lang="en-US" sz="700">
                <a:solidFill>
                  <a:schemeClr val="accent3">
                    <a:lumMod val="60000"/>
                    <a:lumOff val="40000"/>
                  </a:schemeClr>
                </a:solidFill>
              </a:rPr>
            </a:br>
            <a:r>
              <a:rPr lang="en-US" sz="700">
                <a:solidFill>
                  <a:schemeClr val="accent3">
                    <a:lumMod val="60000"/>
                    <a:lumOff val="40000"/>
                  </a:schemeClr>
                </a:solidFill>
              </a:rPr>
              <a:t>Accreditations: 2</a:t>
            </a:r>
            <a:br>
              <a:rPr lang="en-US" sz="900"/>
            </a:br>
            <a:endParaRPr lang="en-US" sz="900"/>
          </a:p>
          <a:p>
            <a:pPr marL="228600" indent="-228600">
              <a:buAutoNum type="arabicPeriod"/>
            </a:pPr>
            <a:r>
              <a:rPr lang="en-US" sz="900"/>
              <a:t>Air Freight</a:t>
            </a:r>
            <a:br>
              <a:rPr lang="en-US" sz="900"/>
            </a:br>
            <a:br>
              <a:rPr lang="en-US" sz="900"/>
            </a:br>
            <a:r>
              <a:rPr lang="en-US" sz="700">
                <a:solidFill>
                  <a:schemeClr val="accent3">
                    <a:lumMod val="75000"/>
                  </a:schemeClr>
                </a:solidFill>
              </a:rPr>
              <a:t>Est. carbon footprint: </a:t>
            </a:r>
            <a:r>
              <a:rPr lang="en-US" sz="700">
                <a:solidFill>
                  <a:srgbClr val="C00000"/>
                </a:solidFill>
              </a:rPr>
              <a:t>640kg</a:t>
            </a:r>
            <a:br>
              <a:rPr lang="en-US" sz="700">
                <a:solidFill>
                  <a:schemeClr val="accent3">
                    <a:lumMod val="75000"/>
                  </a:schemeClr>
                </a:solidFill>
              </a:rPr>
            </a:br>
            <a:r>
              <a:rPr lang="en-US" sz="700">
                <a:solidFill>
                  <a:schemeClr val="accent3">
                    <a:lumMod val="60000"/>
                    <a:lumOff val="40000"/>
                  </a:schemeClr>
                </a:solidFill>
              </a:rPr>
              <a:t>Supplier ESG score: 3</a:t>
            </a:r>
            <a:br>
              <a:rPr lang="en-US" sz="700">
                <a:solidFill>
                  <a:schemeClr val="accent3">
                    <a:lumMod val="60000"/>
                    <a:lumOff val="40000"/>
                  </a:schemeClr>
                </a:solidFill>
              </a:rPr>
            </a:br>
            <a:r>
              <a:rPr lang="en-US" sz="700">
                <a:solidFill>
                  <a:schemeClr val="accent3">
                    <a:lumMod val="60000"/>
                    <a:lumOff val="40000"/>
                  </a:schemeClr>
                </a:solidFill>
              </a:rPr>
              <a:t>Accreditations: 1</a:t>
            </a:r>
            <a:br>
              <a:rPr lang="en-US" sz="900"/>
            </a:br>
            <a:endParaRPr lang="en-US" sz="900"/>
          </a:p>
          <a:p>
            <a:r>
              <a:rPr lang="en-US" sz="900"/>
              <a:t>*Recommended</a:t>
            </a:r>
          </a:p>
        </p:txBody>
      </p:sp>
      <p:sp>
        <p:nvSpPr>
          <p:cNvPr id="9" name="TextBox 8">
            <a:extLst>
              <a:ext uri="{FF2B5EF4-FFF2-40B4-BE49-F238E27FC236}">
                <a16:creationId xmlns:a16="http://schemas.microsoft.com/office/drawing/2014/main" id="{EF8D148E-2029-4F9A-A49F-46075634F4C3}"/>
              </a:ext>
            </a:extLst>
          </p:cNvPr>
          <p:cNvSpPr txBox="1"/>
          <p:nvPr/>
        </p:nvSpPr>
        <p:spPr>
          <a:xfrm>
            <a:off x="688769" y="6002977"/>
            <a:ext cx="7932717" cy="261610"/>
          </a:xfrm>
          <a:prstGeom prst="rect">
            <a:avLst/>
          </a:prstGeom>
          <a:noFill/>
        </p:spPr>
        <p:txBody>
          <a:bodyPr wrap="square" rtlCol="0">
            <a:spAutoFit/>
          </a:bodyPr>
          <a:lstStyle/>
          <a:p>
            <a:r>
              <a:rPr lang="en-US" sz="1100">
                <a:solidFill>
                  <a:schemeClr val="bg1"/>
                </a:solidFill>
              </a:rPr>
              <a:t>Assumptions: 2,500km shipped and </a:t>
            </a:r>
            <a:r>
              <a:rPr lang="en-US" sz="1100">
                <a:solidFill>
                  <a:schemeClr val="bg1"/>
                </a:solidFill>
                <a:hlinkClick r:id="rId7"/>
              </a:rPr>
              <a:t>carbon footprint of travel per kilometer data</a:t>
            </a:r>
            <a:endParaRPr lang="en-US" sz="1100">
              <a:solidFill>
                <a:schemeClr val="bg1"/>
              </a:solidFill>
            </a:endParaRPr>
          </a:p>
        </p:txBody>
      </p:sp>
    </p:spTree>
    <p:extLst>
      <p:ext uri="{BB962C8B-B14F-4D97-AF65-F5344CB8AC3E}">
        <p14:creationId xmlns:p14="http://schemas.microsoft.com/office/powerpoint/2010/main" val="3018987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E0E63AE-1F16-412B-B00B-DC954B74564F}"/>
              </a:ext>
            </a:extLst>
          </p:cNvPr>
          <p:cNvGraphicFramePr>
            <a:graphicFrameLocks noChangeAspect="1"/>
          </p:cNvGraphicFramePr>
          <p:nvPr>
            <p:custDataLst>
              <p:tags r:id="rId1"/>
            </p:custDataLst>
            <p:extLst>
              <p:ext uri="{D42A27DB-BD31-4B8C-83A1-F6EECF244321}">
                <p14:modId xmlns:p14="http://schemas.microsoft.com/office/powerpoint/2010/main" val="8821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9" name="Object 8" hidden="1">
                        <a:extLst>
                          <a:ext uri="{FF2B5EF4-FFF2-40B4-BE49-F238E27FC236}">
                            <a16:creationId xmlns:a16="http://schemas.microsoft.com/office/drawing/2014/main" id="{8E0E63AE-1F16-412B-B00B-DC954B7456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Rectangle 22">
            <a:extLst>
              <a:ext uri="{FF2B5EF4-FFF2-40B4-BE49-F238E27FC236}">
                <a16:creationId xmlns:a16="http://schemas.microsoft.com/office/drawing/2014/main" id="{67AB3247-B8EF-4A78-8CCB-DCF93D6DCD5B}"/>
              </a:ext>
            </a:extLst>
          </p:cNvPr>
          <p:cNvSpPr/>
          <p:nvPr/>
        </p:nvSpPr>
        <p:spPr>
          <a:xfrm>
            <a:off x="1285317" y="1376108"/>
            <a:ext cx="4908754" cy="50744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err="1">
                <a:solidFill>
                  <a:schemeClr val="bg1"/>
                </a:solidFill>
                <a:cs typeface="Calibri"/>
              </a:rPr>
              <a:t>Dfjk;jlasdf</a:t>
            </a:r>
            <a:endParaRPr lang="en-US" err="1">
              <a:solidFill>
                <a:schemeClr val="bg1"/>
              </a:solidFill>
            </a:endParaRPr>
          </a:p>
        </p:txBody>
      </p:sp>
      <p:sp>
        <p:nvSpPr>
          <p:cNvPr id="3" name="Title 2">
            <a:extLst>
              <a:ext uri="{FF2B5EF4-FFF2-40B4-BE49-F238E27FC236}">
                <a16:creationId xmlns:a16="http://schemas.microsoft.com/office/drawing/2014/main" id="{79601699-A63D-4A23-B05A-7C354F6E95EB}"/>
              </a:ext>
            </a:extLst>
          </p:cNvPr>
          <p:cNvSpPr>
            <a:spLocks noGrp="1"/>
          </p:cNvSpPr>
          <p:nvPr>
            <p:ph type="ctrTitle"/>
          </p:nvPr>
        </p:nvSpPr>
        <p:spPr/>
        <p:txBody>
          <a:bodyPr vert="horz"/>
          <a:lstStyle/>
          <a:p>
            <a:r>
              <a:rPr lang="en-US"/>
              <a:t>System Architecture</a:t>
            </a:r>
          </a:p>
        </p:txBody>
      </p:sp>
      <p:sp>
        <p:nvSpPr>
          <p:cNvPr id="7" name="Flowchart: Magnetic Disk 6">
            <a:extLst>
              <a:ext uri="{FF2B5EF4-FFF2-40B4-BE49-F238E27FC236}">
                <a16:creationId xmlns:a16="http://schemas.microsoft.com/office/drawing/2014/main" id="{6855F8AB-90B3-4FBE-8B3E-AB44603F6D29}"/>
              </a:ext>
            </a:extLst>
          </p:cNvPr>
          <p:cNvSpPr/>
          <p:nvPr/>
        </p:nvSpPr>
        <p:spPr>
          <a:xfrm>
            <a:off x="2688348" y="5451921"/>
            <a:ext cx="2131424" cy="842470"/>
          </a:xfrm>
          <a:prstGeom prst="flowChartMagneticDisk">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r"/>
            <a:r>
              <a:rPr lang="en-US" sz="1400">
                <a:solidFill>
                  <a:schemeClr val="tx1"/>
                </a:solidFill>
              </a:rPr>
              <a:t>IBM DB2 Database</a:t>
            </a:r>
            <a:endParaRPr lang="en-US">
              <a:solidFill>
                <a:schemeClr val="tx1"/>
              </a:solidFill>
            </a:endParaRPr>
          </a:p>
        </p:txBody>
      </p:sp>
      <p:sp>
        <p:nvSpPr>
          <p:cNvPr id="8" name="Rectangle 7">
            <a:extLst>
              <a:ext uri="{FF2B5EF4-FFF2-40B4-BE49-F238E27FC236}">
                <a16:creationId xmlns:a16="http://schemas.microsoft.com/office/drawing/2014/main" id="{82822C11-5927-45CB-8939-B8D599FEDFE4}"/>
              </a:ext>
            </a:extLst>
          </p:cNvPr>
          <p:cNvSpPr/>
          <p:nvPr/>
        </p:nvSpPr>
        <p:spPr>
          <a:xfrm>
            <a:off x="1659343" y="2159590"/>
            <a:ext cx="2867298" cy="14268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t>Our Application</a:t>
            </a:r>
          </a:p>
          <a:p>
            <a:pPr algn="ctr"/>
            <a:r>
              <a:rPr lang="en-US"/>
              <a:t>(Order Management System ESG Integration)</a:t>
            </a:r>
          </a:p>
        </p:txBody>
      </p:sp>
      <p:sp>
        <p:nvSpPr>
          <p:cNvPr id="10" name="Rectangle 9">
            <a:extLst>
              <a:ext uri="{FF2B5EF4-FFF2-40B4-BE49-F238E27FC236}">
                <a16:creationId xmlns:a16="http://schemas.microsoft.com/office/drawing/2014/main" id="{BCB0F9E8-59B3-439E-AB29-BE675FA3D7D4}"/>
              </a:ext>
            </a:extLst>
          </p:cNvPr>
          <p:cNvSpPr/>
          <p:nvPr/>
        </p:nvSpPr>
        <p:spPr>
          <a:xfrm>
            <a:off x="9577450" y="1988684"/>
            <a:ext cx="1787306" cy="34809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Third party logistic providers</a:t>
            </a:r>
          </a:p>
        </p:txBody>
      </p:sp>
      <p:cxnSp>
        <p:nvCxnSpPr>
          <p:cNvPr id="12" name="Straight Arrow Connector 11">
            <a:extLst>
              <a:ext uri="{FF2B5EF4-FFF2-40B4-BE49-F238E27FC236}">
                <a16:creationId xmlns:a16="http://schemas.microsoft.com/office/drawing/2014/main" id="{5C1FB346-2839-472E-BCBD-E7720289D8AA}"/>
              </a:ext>
            </a:extLst>
          </p:cNvPr>
          <p:cNvCxnSpPr>
            <a:cxnSpLocks/>
          </p:cNvCxnSpPr>
          <p:nvPr/>
        </p:nvCxnSpPr>
        <p:spPr>
          <a:xfrm>
            <a:off x="5662996" y="2672191"/>
            <a:ext cx="3878591" cy="0"/>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16" name="Straight Arrow Connector 15">
            <a:extLst>
              <a:ext uri="{FF2B5EF4-FFF2-40B4-BE49-F238E27FC236}">
                <a16:creationId xmlns:a16="http://schemas.microsoft.com/office/drawing/2014/main" id="{A6CC27D3-A48C-4E44-B7E4-99CCEAAF4CD2}"/>
              </a:ext>
            </a:extLst>
          </p:cNvPr>
          <p:cNvCxnSpPr>
            <a:cxnSpLocks/>
          </p:cNvCxnSpPr>
          <p:nvPr/>
        </p:nvCxnSpPr>
        <p:spPr>
          <a:xfrm flipH="1" flipV="1">
            <a:off x="5734433" y="2920841"/>
            <a:ext cx="3819061" cy="23812"/>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17" name="Straight Arrow Connector 16">
            <a:extLst>
              <a:ext uri="{FF2B5EF4-FFF2-40B4-BE49-F238E27FC236}">
                <a16:creationId xmlns:a16="http://schemas.microsoft.com/office/drawing/2014/main" id="{F70C6B27-E8E0-40F7-86C7-19D4438F0DA7}"/>
              </a:ext>
            </a:extLst>
          </p:cNvPr>
          <p:cNvCxnSpPr>
            <a:cxnSpLocks/>
          </p:cNvCxnSpPr>
          <p:nvPr/>
        </p:nvCxnSpPr>
        <p:spPr>
          <a:xfrm flipH="1" flipV="1">
            <a:off x="3748742" y="3595912"/>
            <a:ext cx="5318" cy="1856009"/>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19" name="Straight Arrow Connector 18">
            <a:extLst>
              <a:ext uri="{FF2B5EF4-FFF2-40B4-BE49-F238E27FC236}">
                <a16:creationId xmlns:a16="http://schemas.microsoft.com/office/drawing/2014/main" id="{00D693F9-7289-4D0D-B164-B8AA5DBC5D09}"/>
              </a:ext>
            </a:extLst>
          </p:cNvPr>
          <p:cNvCxnSpPr>
            <a:cxnSpLocks/>
          </p:cNvCxnSpPr>
          <p:nvPr/>
        </p:nvCxnSpPr>
        <p:spPr>
          <a:xfrm>
            <a:off x="3544306" y="3584005"/>
            <a:ext cx="14018" cy="1867916"/>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sp>
        <p:nvSpPr>
          <p:cNvPr id="22" name="TextBox 21">
            <a:extLst>
              <a:ext uri="{FF2B5EF4-FFF2-40B4-BE49-F238E27FC236}">
                <a16:creationId xmlns:a16="http://schemas.microsoft.com/office/drawing/2014/main" id="{E607B256-C70A-46BC-874E-504C8320BE53}"/>
              </a:ext>
            </a:extLst>
          </p:cNvPr>
          <p:cNvSpPr txBox="1"/>
          <p:nvPr/>
        </p:nvSpPr>
        <p:spPr>
          <a:xfrm>
            <a:off x="6277304" y="2248472"/>
            <a:ext cx="2666117" cy="369332"/>
          </a:xfrm>
          <a:prstGeom prst="rect">
            <a:avLst/>
          </a:prstGeom>
          <a:noFill/>
        </p:spPr>
        <p:txBody>
          <a:bodyPr wrap="square" rtlCol="0">
            <a:spAutoFit/>
          </a:bodyPr>
          <a:lstStyle/>
          <a:p>
            <a:r>
              <a:rPr lang="en-US">
                <a:solidFill>
                  <a:schemeClr val="bg1"/>
                </a:solidFill>
              </a:rPr>
              <a:t>Get transportation details</a:t>
            </a:r>
          </a:p>
        </p:txBody>
      </p:sp>
      <p:pic>
        <p:nvPicPr>
          <p:cNvPr id="2054" name="Picture 6" descr="Image result for fedex">
            <a:extLst>
              <a:ext uri="{FF2B5EF4-FFF2-40B4-BE49-F238E27FC236}">
                <a16:creationId xmlns:a16="http://schemas.microsoft.com/office/drawing/2014/main" id="{3B223018-6077-4A6A-9BA7-E27CB51F804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719505" y="2186938"/>
            <a:ext cx="798581" cy="639433"/>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Image result for dhl">
            <a:extLst>
              <a:ext uri="{FF2B5EF4-FFF2-40B4-BE49-F238E27FC236}">
                <a16:creationId xmlns:a16="http://schemas.microsoft.com/office/drawing/2014/main" id="{5735440D-4A20-4C7C-8ABA-41862CC5078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624369" y="2684097"/>
            <a:ext cx="634103" cy="727924"/>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Image result for ninja van ">
            <a:extLst>
              <a:ext uri="{FF2B5EF4-FFF2-40B4-BE49-F238E27FC236}">
                <a16:creationId xmlns:a16="http://schemas.microsoft.com/office/drawing/2014/main" id="{DE61FAC2-967E-402D-9349-3A9332AA6AB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056069" y="4245289"/>
            <a:ext cx="1020892" cy="722886"/>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Image result for redhat openshift logo">
            <a:extLst>
              <a:ext uri="{FF2B5EF4-FFF2-40B4-BE49-F238E27FC236}">
                <a16:creationId xmlns:a16="http://schemas.microsoft.com/office/drawing/2014/main" id="{5824E5E4-D254-4522-AE21-D12F2C75A50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304997" y="1486960"/>
            <a:ext cx="985268" cy="650104"/>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A09E5B3F-F3C5-4343-A3CA-77295F435D28}"/>
              </a:ext>
            </a:extLst>
          </p:cNvPr>
          <p:cNvPicPr>
            <a:picLocks noChangeAspect="1"/>
          </p:cNvPicPr>
          <p:nvPr/>
        </p:nvPicPr>
        <p:blipFill>
          <a:blip r:embed="rId9"/>
          <a:stretch>
            <a:fillRect/>
          </a:stretch>
        </p:blipFill>
        <p:spPr>
          <a:xfrm>
            <a:off x="2802138" y="5757377"/>
            <a:ext cx="495369" cy="390580"/>
          </a:xfrm>
          <a:prstGeom prst="rect">
            <a:avLst/>
          </a:prstGeom>
        </p:spPr>
      </p:pic>
      <p:sp>
        <p:nvSpPr>
          <p:cNvPr id="34" name="Rectangle 33">
            <a:extLst>
              <a:ext uri="{FF2B5EF4-FFF2-40B4-BE49-F238E27FC236}">
                <a16:creationId xmlns:a16="http://schemas.microsoft.com/office/drawing/2014/main" id="{AE641068-39D6-4179-AAE1-A7B7BA590EBA}"/>
              </a:ext>
            </a:extLst>
          </p:cNvPr>
          <p:cNvSpPr/>
          <p:nvPr/>
        </p:nvSpPr>
        <p:spPr>
          <a:xfrm>
            <a:off x="4767569" y="2433138"/>
            <a:ext cx="1007563" cy="514381"/>
          </a:xfrm>
          <a:prstGeom prst="rect">
            <a:avLst/>
          </a:prstGeom>
          <a:solidFill>
            <a:srgbClr val="DEEBF7"/>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chemeClr val="tx1"/>
                </a:solidFill>
                <a:cs typeface="Calibri"/>
              </a:rPr>
              <a:t>Caching (Redis )</a:t>
            </a:r>
          </a:p>
        </p:txBody>
      </p:sp>
      <p:cxnSp>
        <p:nvCxnSpPr>
          <p:cNvPr id="21" name="Straight Arrow Connector 20">
            <a:extLst>
              <a:ext uri="{FF2B5EF4-FFF2-40B4-BE49-F238E27FC236}">
                <a16:creationId xmlns:a16="http://schemas.microsoft.com/office/drawing/2014/main" id="{3C3DE328-25A6-42AF-B309-11D94A4D2EB9}"/>
              </a:ext>
            </a:extLst>
          </p:cNvPr>
          <p:cNvCxnSpPr>
            <a:cxnSpLocks/>
          </p:cNvCxnSpPr>
          <p:nvPr/>
        </p:nvCxnSpPr>
        <p:spPr>
          <a:xfrm>
            <a:off x="4531902" y="2560933"/>
            <a:ext cx="235281" cy="0"/>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24" name="Straight Arrow Connector 23">
            <a:extLst>
              <a:ext uri="{FF2B5EF4-FFF2-40B4-BE49-F238E27FC236}">
                <a16:creationId xmlns:a16="http://schemas.microsoft.com/office/drawing/2014/main" id="{A32FFC80-187D-4F4D-A4F0-7408570B9606}"/>
              </a:ext>
            </a:extLst>
          </p:cNvPr>
          <p:cNvCxnSpPr>
            <a:cxnSpLocks/>
          </p:cNvCxnSpPr>
          <p:nvPr/>
        </p:nvCxnSpPr>
        <p:spPr>
          <a:xfrm flipH="1">
            <a:off x="4543808" y="2742248"/>
            <a:ext cx="223375" cy="11906"/>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pic>
        <p:nvPicPr>
          <p:cNvPr id="2" name="Picture 4" descr="Icon&#10;&#10;Description automatically generated">
            <a:extLst>
              <a:ext uri="{FF2B5EF4-FFF2-40B4-BE49-F238E27FC236}">
                <a16:creationId xmlns:a16="http://schemas.microsoft.com/office/drawing/2014/main" id="{7A2D54B4-B583-44D4-827C-0906F78D4543}"/>
              </a:ext>
            </a:extLst>
          </p:cNvPr>
          <p:cNvPicPr>
            <a:picLocks noChangeAspect="1"/>
          </p:cNvPicPr>
          <p:nvPr/>
        </p:nvPicPr>
        <p:blipFill>
          <a:blip r:embed="rId10"/>
          <a:stretch>
            <a:fillRect/>
          </a:stretch>
        </p:blipFill>
        <p:spPr>
          <a:xfrm>
            <a:off x="1795463" y="1520991"/>
            <a:ext cx="778669" cy="577520"/>
          </a:xfrm>
          <a:prstGeom prst="rect">
            <a:avLst/>
          </a:prstGeom>
        </p:spPr>
      </p:pic>
      <p:sp>
        <p:nvSpPr>
          <p:cNvPr id="29" name="Rectangle 28">
            <a:extLst>
              <a:ext uri="{FF2B5EF4-FFF2-40B4-BE49-F238E27FC236}">
                <a16:creationId xmlns:a16="http://schemas.microsoft.com/office/drawing/2014/main" id="{812CF2C3-369B-402C-80CB-F4150DD1B114}"/>
              </a:ext>
            </a:extLst>
          </p:cNvPr>
          <p:cNvSpPr/>
          <p:nvPr/>
        </p:nvSpPr>
        <p:spPr>
          <a:xfrm>
            <a:off x="3092992" y="4713641"/>
            <a:ext cx="1007563" cy="514381"/>
          </a:xfrm>
          <a:prstGeom prst="rect">
            <a:avLst/>
          </a:prstGeom>
          <a:solidFill>
            <a:srgbClr val="DEEBF7"/>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chemeClr val="tx1"/>
                </a:solidFill>
                <a:cs typeface="Calibri"/>
              </a:rPr>
              <a:t>Caching (Redis )</a:t>
            </a:r>
          </a:p>
        </p:txBody>
      </p:sp>
      <p:cxnSp>
        <p:nvCxnSpPr>
          <p:cNvPr id="26" name="Straight Arrow Connector 25">
            <a:extLst>
              <a:ext uri="{FF2B5EF4-FFF2-40B4-BE49-F238E27FC236}">
                <a16:creationId xmlns:a16="http://schemas.microsoft.com/office/drawing/2014/main" id="{0F4D29FC-A250-47FB-94D4-14CD7F7A5674}"/>
              </a:ext>
            </a:extLst>
          </p:cNvPr>
          <p:cNvCxnSpPr>
            <a:cxnSpLocks/>
          </p:cNvCxnSpPr>
          <p:nvPr/>
        </p:nvCxnSpPr>
        <p:spPr>
          <a:xfrm>
            <a:off x="941181" y="2617804"/>
            <a:ext cx="718162" cy="0"/>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sp>
        <p:nvSpPr>
          <p:cNvPr id="13" name="TextBox 12">
            <a:extLst>
              <a:ext uri="{FF2B5EF4-FFF2-40B4-BE49-F238E27FC236}">
                <a16:creationId xmlns:a16="http://schemas.microsoft.com/office/drawing/2014/main" id="{4F1BE2C2-B35F-43A4-A876-A4D91995A497}"/>
              </a:ext>
            </a:extLst>
          </p:cNvPr>
          <p:cNvSpPr txBox="1"/>
          <p:nvPr/>
        </p:nvSpPr>
        <p:spPr>
          <a:xfrm>
            <a:off x="228861" y="1933731"/>
            <a:ext cx="914400" cy="369332"/>
          </a:xfrm>
          <a:prstGeom prst="rect">
            <a:avLst/>
          </a:prstGeom>
          <a:noFill/>
          <a:ln>
            <a:noFill/>
          </a:ln>
        </p:spPr>
        <p:txBody>
          <a:bodyPr wrap="square" rtlCol="0">
            <a:spAutoFit/>
          </a:bodyPr>
          <a:lstStyle/>
          <a:p>
            <a:r>
              <a:rPr lang="en-IN">
                <a:solidFill>
                  <a:schemeClr val="bg1"/>
                </a:solidFill>
              </a:rPr>
              <a:t>User</a:t>
            </a:r>
          </a:p>
        </p:txBody>
      </p:sp>
      <p:grpSp>
        <p:nvGrpSpPr>
          <p:cNvPr id="15" name="Graphic 5">
            <a:extLst>
              <a:ext uri="{FF2B5EF4-FFF2-40B4-BE49-F238E27FC236}">
                <a16:creationId xmlns:a16="http://schemas.microsoft.com/office/drawing/2014/main" id="{2166DAC1-04E4-4880-890F-A2013F73D977}"/>
              </a:ext>
              <a:ext uri="{C183D7F6-B498-43B3-948B-1728B52AA6E4}">
                <adec:decorative xmlns:adec="http://schemas.microsoft.com/office/drawing/2017/decorative" val="1"/>
              </a:ext>
            </a:extLst>
          </p:cNvPr>
          <p:cNvGrpSpPr/>
          <p:nvPr/>
        </p:nvGrpSpPr>
        <p:grpSpPr>
          <a:xfrm>
            <a:off x="214709" y="2329010"/>
            <a:ext cx="785019" cy="686495"/>
            <a:chOff x="214709" y="2329010"/>
            <a:chExt cx="785019" cy="686495"/>
          </a:xfrm>
          <a:solidFill>
            <a:srgbClr val="FF0000"/>
          </a:solidFill>
        </p:grpSpPr>
        <p:sp>
          <p:nvSpPr>
            <p:cNvPr id="18" name="Freeform: Shape 17">
              <a:extLst>
                <a:ext uri="{FF2B5EF4-FFF2-40B4-BE49-F238E27FC236}">
                  <a16:creationId xmlns:a16="http://schemas.microsoft.com/office/drawing/2014/main" id="{1347392D-79F4-4891-BAF7-9922110E4802}"/>
                </a:ext>
              </a:extLst>
            </p:cNvPr>
            <p:cNvSpPr/>
            <p:nvPr/>
          </p:nvSpPr>
          <p:spPr>
            <a:xfrm>
              <a:off x="982663" y="2551657"/>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 name="Freeform: Shape 19">
              <a:extLst>
                <a:ext uri="{FF2B5EF4-FFF2-40B4-BE49-F238E27FC236}">
                  <a16:creationId xmlns:a16="http://schemas.microsoft.com/office/drawing/2014/main" id="{9A9B3C43-0E33-4B8A-9242-2768D2659560}"/>
                </a:ext>
              </a:extLst>
            </p:cNvPr>
            <p:cNvSpPr/>
            <p:nvPr/>
          </p:nvSpPr>
          <p:spPr>
            <a:xfrm>
              <a:off x="948532" y="2551657"/>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7" name="Freeform: Shape 26">
              <a:extLst>
                <a:ext uri="{FF2B5EF4-FFF2-40B4-BE49-F238E27FC236}">
                  <a16:creationId xmlns:a16="http://schemas.microsoft.com/office/drawing/2014/main" id="{7CA01486-981D-4520-BAEE-6B7FD9186AE5}"/>
                </a:ext>
              </a:extLst>
            </p:cNvPr>
            <p:cNvSpPr/>
            <p:nvPr/>
          </p:nvSpPr>
          <p:spPr>
            <a:xfrm>
              <a:off x="846138" y="2551657"/>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8" name="Freeform: Shape 27">
              <a:extLst>
                <a:ext uri="{FF2B5EF4-FFF2-40B4-BE49-F238E27FC236}">
                  <a16:creationId xmlns:a16="http://schemas.microsoft.com/office/drawing/2014/main" id="{4273FD1D-5066-4809-833E-2A5635222732}"/>
                </a:ext>
              </a:extLst>
            </p:cNvPr>
            <p:cNvSpPr/>
            <p:nvPr/>
          </p:nvSpPr>
          <p:spPr>
            <a:xfrm>
              <a:off x="880269" y="2551657"/>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30" name="Freeform: Shape 29">
              <a:extLst>
                <a:ext uri="{FF2B5EF4-FFF2-40B4-BE49-F238E27FC236}">
                  <a16:creationId xmlns:a16="http://schemas.microsoft.com/office/drawing/2014/main" id="{DCCC41EA-C325-489A-B677-EFBF2941C371}"/>
                </a:ext>
              </a:extLst>
            </p:cNvPr>
            <p:cNvSpPr/>
            <p:nvPr/>
          </p:nvSpPr>
          <p:spPr>
            <a:xfrm>
              <a:off x="812007" y="2551657"/>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31" name="Freeform: Shape 30">
              <a:extLst>
                <a:ext uri="{FF2B5EF4-FFF2-40B4-BE49-F238E27FC236}">
                  <a16:creationId xmlns:a16="http://schemas.microsoft.com/office/drawing/2014/main" id="{3E47345E-56CF-4406-88FA-755864373E15}"/>
                </a:ext>
              </a:extLst>
            </p:cNvPr>
            <p:cNvSpPr/>
            <p:nvPr/>
          </p:nvSpPr>
          <p:spPr>
            <a:xfrm>
              <a:off x="914401" y="2551657"/>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48" name="Freeform: Shape 2047">
              <a:extLst>
                <a:ext uri="{FF2B5EF4-FFF2-40B4-BE49-F238E27FC236}">
                  <a16:creationId xmlns:a16="http://schemas.microsoft.com/office/drawing/2014/main" id="{3FF286FE-B2F4-4B1F-89A2-53D8B6F86BFE}"/>
                </a:ext>
              </a:extLst>
            </p:cNvPr>
            <p:cNvSpPr/>
            <p:nvPr/>
          </p:nvSpPr>
          <p:spPr>
            <a:xfrm>
              <a:off x="777875" y="2551657"/>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49" name="Freeform: Shape 2048">
              <a:extLst>
                <a:ext uri="{FF2B5EF4-FFF2-40B4-BE49-F238E27FC236}">
                  <a16:creationId xmlns:a16="http://schemas.microsoft.com/office/drawing/2014/main" id="{874C1606-86D7-4F5B-A25E-88F4DABB856E}"/>
                </a:ext>
              </a:extLst>
            </p:cNvPr>
            <p:cNvSpPr/>
            <p:nvPr/>
          </p:nvSpPr>
          <p:spPr>
            <a:xfrm>
              <a:off x="777875" y="2477441"/>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50" name="Freeform: Shape 2049">
              <a:extLst>
                <a:ext uri="{FF2B5EF4-FFF2-40B4-BE49-F238E27FC236}">
                  <a16:creationId xmlns:a16="http://schemas.microsoft.com/office/drawing/2014/main" id="{C735D385-F9E1-4442-AF7A-761496CBAD00}"/>
                </a:ext>
              </a:extLst>
            </p:cNvPr>
            <p:cNvSpPr/>
            <p:nvPr/>
          </p:nvSpPr>
          <p:spPr>
            <a:xfrm>
              <a:off x="777875" y="2514549"/>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51" name="Freeform: Shape 2050">
              <a:extLst>
                <a:ext uri="{FF2B5EF4-FFF2-40B4-BE49-F238E27FC236}">
                  <a16:creationId xmlns:a16="http://schemas.microsoft.com/office/drawing/2014/main" id="{BFB4EC7D-E48D-405A-B0FE-5EA23C7FA715}"/>
                </a:ext>
              </a:extLst>
            </p:cNvPr>
            <p:cNvSpPr/>
            <p:nvPr/>
          </p:nvSpPr>
          <p:spPr>
            <a:xfrm>
              <a:off x="777875" y="2366118"/>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52" name="Freeform: Shape 2051">
              <a:extLst>
                <a:ext uri="{FF2B5EF4-FFF2-40B4-BE49-F238E27FC236}">
                  <a16:creationId xmlns:a16="http://schemas.microsoft.com/office/drawing/2014/main" id="{DE64248E-7FF3-48D8-BFA6-DAD55B8BEFA9}"/>
                </a:ext>
              </a:extLst>
            </p:cNvPr>
            <p:cNvSpPr/>
            <p:nvPr/>
          </p:nvSpPr>
          <p:spPr>
            <a:xfrm>
              <a:off x="777875" y="2440334"/>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53" name="Freeform: Shape 2052">
              <a:extLst>
                <a:ext uri="{FF2B5EF4-FFF2-40B4-BE49-F238E27FC236}">
                  <a16:creationId xmlns:a16="http://schemas.microsoft.com/office/drawing/2014/main" id="{095FA234-7AB7-4B17-A937-1B9EA00F5EF2}"/>
                </a:ext>
              </a:extLst>
            </p:cNvPr>
            <p:cNvSpPr/>
            <p:nvPr/>
          </p:nvSpPr>
          <p:spPr>
            <a:xfrm>
              <a:off x="777875" y="2403226"/>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55" name="Freeform: Shape 2054">
              <a:extLst>
                <a:ext uri="{FF2B5EF4-FFF2-40B4-BE49-F238E27FC236}">
                  <a16:creationId xmlns:a16="http://schemas.microsoft.com/office/drawing/2014/main" id="{BD753838-5217-460A-AF55-DC7D0A85EAAD}"/>
                </a:ext>
              </a:extLst>
            </p:cNvPr>
            <p:cNvSpPr/>
            <p:nvPr/>
          </p:nvSpPr>
          <p:spPr>
            <a:xfrm>
              <a:off x="777875" y="2329010"/>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57" name="Freeform: Shape 2056">
              <a:extLst>
                <a:ext uri="{FF2B5EF4-FFF2-40B4-BE49-F238E27FC236}">
                  <a16:creationId xmlns:a16="http://schemas.microsoft.com/office/drawing/2014/main" id="{0C90FEF1-936D-441C-9189-6A4D78BB3666}"/>
                </a:ext>
              </a:extLst>
            </p:cNvPr>
            <p:cNvSpPr/>
            <p:nvPr/>
          </p:nvSpPr>
          <p:spPr>
            <a:xfrm>
              <a:off x="948532" y="2329010"/>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59" name="Freeform: Shape 2058">
              <a:extLst>
                <a:ext uri="{FF2B5EF4-FFF2-40B4-BE49-F238E27FC236}">
                  <a16:creationId xmlns:a16="http://schemas.microsoft.com/office/drawing/2014/main" id="{01B8FD81-14A2-4D4C-B5B3-8FAD9F6BD75D}"/>
                </a:ext>
              </a:extLst>
            </p:cNvPr>
            <p:cNvSpPr/>
            <p:nvPr/>
          </p:nvSpPr>
          <p:spPr>
            <a:xfrm>
              <a:off x="880269" y="2329010"/>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61" name="Freeform: Shape 2060">
              <a:extLst>
                <a:ext uri="{FF2B5EF4-FFF2-40B4-BE49-F238E27FC236}">
                  <a16:creationId xmlns:a16="http://schemas.microsoft.com/office/drawing/2014/main" id="{E896F1FF-BBAE-4935-9125-91DA020F8DF5}"/>
                </a:ext>
              </a:extLst>
            </p:cNvPr>
            <p:cNvSpPr/>
            <p:nvPr/>
          </p:nvSpPr>
          <p:spPr>
            <a:xfrm>
              <a:off x="846138" y="2329010"/>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62" name="Freeform: Shape 2061">
              <a:extLst>
                <a:ext uri="{FF2B5EF4-FFF2-40B4-BE49-F238E27FC236}">
                  <a16:creationId xmlns:a16="http://schemas.microsoft.com/office/drawing/2014/main" id="{76C1C287-A004-4F9D-A487-4D084B508521}"/>
                </a:ext>
              </a:extLst>
            </p:cNvPr>
            <p:cNvSpPr/>
            <p:nvPr/>
          </p:nvSpPr>
          <p:spPr>
            <a:xfrm>
              <a:off x="812007" y="2329010"/>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63" name="Freeform: Shape 2062">
              <a:extLst>
                <a:ext uri="{FF2B5EF4-FFF2-40B4-BE49-F238E27FC236}">
                  <a16:creationId xmlns:a16="http://schemas.microsoft.com/office/drawing/2014/main" id="{4E0524C1-7B74-4828-BB53-51BFC1C5BFB2}"/>
                </a:ext>
              </a:extLst>
            </p:cNvPr>
            <p:cNvSpPr/>
            <p:nvPr/>
          </p:nvSpPr>
          <p:spPr>
            <a:xfrm>
              <a:off x="914401" y="2329010"/>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64" name="Freeform: Shape 2063">
              <a:extLst>
                <a:ext uri="{FF2B5EF4-FFF2-40B4-BE49-F238E27FC236}">
                  <a16:creationId xmlns:a16="http://schemas.microsoft.com/office/drawing/2014/main" id="{7EE9B45B-D560-481B-ABE6-A079C21B559C}"/>
                </a:ext>
              </a:extLst>
            </p:cNvPr>
            <p:cNvSpPr/>
            <p:nvPr/>
          </p:nvSpPr>
          <p:spPr>
            <a:xfrm>
              <a:off x="982663" y="2329010"/>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65" name="Freeform: Shape 2064">
              <a:extLst>
                <a:ext uri="{FF2B5EF4-FFF2-40B4-BE49-F238E27FC236}">
                  <a16:creationId xmlns:a16="http://schemas.microsoft.com/office/drawing/2014/main" id="{00CCB4BA-B688-4447-B747-BDE1F9AADA52}"/>
                </a:ext>
              </a:extLst>
            </p:cNvPr>
            <p:cNvSpPr/>
            <p:nvPr/>
          </p:nvSpPr>
          <p:spPr>
            <a:xfrm>
              <a:off x="982663" y="2403226"/>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66" name="Freeform: Shape 2065">
              <a:extLst>
                <a:ext uri="{FF2B5EF4-FFF2-40B4-BE49-F238E27FC236}">
                  <a16:creationId xmlns:a16="http://schemas.microsoft.com/office/drawing/2014/main" id="{564F4E0C-50DB-493D-A44A-76447CE2B419}"/>
                </a:ext>
              </a:extLst>
            </p:cNvPr>
            <p:cNvSpPr/>
            <p:nvPr/>
          </p:nvSpPr>
          <p:spPr>
            <a:xfrm>
              <a:off x="982663" y="2477441"/>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67" name="Freeform: Shape 2066">
              <a:extLst>
                <a:ext uri="{FF2B5EF4-FFF2-40B4-BE49-F238E27FC236}">
                  <a16:creationId xmlns:a16="http://schemas.microsoft.com/office/drawing/2014/main" id="{B6C106C5-3AFB-4788-8143-EC94D66CB11A}"/>
                </a:ext>
              </a:extLst>
            </p:cNvPr>
            <p:cNvSpPr/>
            <p:nvPr/>
          </p:nvSpPr>
          <p:spPr>
            <a:xfrm>
              <a:off x="982663" y="2440334"/>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68" name="Freeform: Shape 2067">
              <a:extLst>
                <a:ext uri="{FF2B5EF4-FFF2-40B4-BE49-F238E27FC236}">
                  <a16:creationId xmlns:a16="http://schemas.microsoft.com/office/drawing/2014/main" id="{344171CD-5173-4A0E-A3A6-0B60AA9F71FF}"/>
                </a:ext>
              </a:extLst>
            </p:cNvPr>
            <p:cNvSpPr/>
            <p:nvPr/>
          </p:nvSpPr>
          <p:spPr>
            <a:xfrm>
              <a:off x="982663" y="2514549"/>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69" name="Freeform: Shape 2068">
              <a:extLst>
                <a:ext uri="{FF2B5EF4-FFF2-40B4-BE49-F238E27FC236}">
                  <a16:creationId xmlns:a16="http://schemas.microsoft.com/office/drawing/2014/main" id="{0F95AB3E-8EC1-4B86-8F13-6587DA7164FC}"/>
                </a:ext>
              </a:extLst>
            </p:cNvPr>
            <p:cNvSpPr/>
            <p:nvPr/>
          </p:nvSpPr>
          <p:spPr>
            <a:xfrm>
              <a:off x="982663" y="2366118"/>
              <a:ext cx="17065" cy="18553"/>
            </a:xfrm>
            <a:custGeom>
              <a:avLst/>
              <a:gdLst>
                <a:gd name="connsiteX0" fmla="*/ 0 w 17065"/>
                <a:gd name="connsiteY0" fmla="*/ 0 h 18553"/>
                <a:gd name="connsiteX1" fmla="*/ 17066 w 17065"/>
                <a:gd name="connsiteY1" fmla="*/ 0 h 18553"/>
                <a:gd name="connsiteX2" fmla="*/ 17066 w 17065"/>
                <a:gd name="connsiteY2" fmla="*/ 18554 h 18553"/>
                <a:gd name="connsiteX3" fmla="*/ 0 w 17065"/>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7065" h="18553">
                  <a:moveTo>
                    <a:pt x="0" y="0"/>
                  </a:moveTo>
                  <a:lnTo>
                    <a:pt x="17066" y="0"/>
                  </a:lnTo>
                  <a:lnTo>
                    <a:pt x="17066"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70" name="Freeform: Shape 2069">
              <a:extLst>
                <a:ext uri="{FF2B5EF4-FFF2-40B4-BE49-F238E27FC236}">
                  <a16:creationId xmlns:a16="http://schemas.microsoft.com/office/drawing/2014/main" id="{FF07DA43-D3D3-4488-AE70-2A32E2A93917}"/>
                </a:ext>
              </a:extLst>
            </p:cNvPr>
            <p:cNvSpPr/>
            <p:nvPr/>
          </p:nvSpPr>
          <p:spPr>
            <a:xfrm>
              <a:off x="308579" y="2430899"/>
              <a:ext cx="443698" cy="18711"/>
            </a:xfrm>
            <a:custGeom>
              <a:avLst/>
              <a:gdLst>
                <a:gd name="connsiteX0" fmla="*/ 0 w 443698"/>
                <a:gd name="connsiteY0" fmla="*/ 0 h 18711"/>
                <a:gd name="connsiteX1" fmla="*/ 0 w 443698"/>
                <a:gd name="connsiteY1" fmla="*/ 18712 h 18711"/>
                <a:gd name="connsiteX2" fmla="*/ 443698 w 443698"/>
                <a:gd name="connsiteY2" fmla="*/ 18554 h 18711"/>
                <a:gd name="connsiteX3" fmla="*/ 443698 w 443698"/>
                <a:gd name="connsiteY3" fmla="*/ 0 h 18711"/>
                <a:gd name="connsiteX4" fmla="*/ 0 w 443698"/>
                <a:gd name="connsiteY4" fmla="*/ 0 h 18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698" h="18711">
                  <a:moveTo>
                    <a:pt x="0" y="0"/>
                  </a:moveTo>
                  <a:lnTo>
                    <a:pt x="0" y="18712"/>
                  </a:lnTo>
                  <a:lnTo>
                    <a:pt x="443698" y="18554"/>
                  </a:lnTo>
                  <a:lnTo>
                    <a:pt x="443698" y="0"/>
                  </a:lnTo>
                  <a:lnTo>
                    <a:pt x="0" y="0"/>
                  </a:lnTo>
                  <a:close/>
                </a:path>
              </a:pathLst>
            </a:custGeom>
            <a:solidFill>
              <a:srgbClr val="FF0000"/>
            </a:solidFill>
            <a:ln w="8533" cap="flat">
              <a:noFill/>
              <a:prstDash val="solid"/>
              <a:miter/>
            </a:ln>
          </p:spPr>
          <p:txBody>
            <a:bodyPr rtlCol="0" anchor="ctr"/>
            <a:lstStyle/>
            <a:p>
              <a:endParaRPr lang="en-IN"/>
            </a:p>
          </p:txBody>
        </p:sp>
        <p:sp>
          <p:nvSpPr>
            <p:cNvPr id="2071" name="Freeform: Shape 2070">
              <a:extLst>
                <a:ext uri="{FF2B5EF4-FFF2-40B4-BE49-F238E27FC236}">
                  <a16:creationId xmlns:a16="http://schemas.microsoft.com/office/drawing/2014/main" id="{49988DBF-6282-4BB5-92FF-FB506F825809}"/>
                </a:ext>
              </a:extLst>
            </p:cNvPr>
            <p:cNvSpPr/>
            <p:nvPr/>
          </p:nvSpPr>
          <p:spPr>
            <a:xfrm>
              <a:off x="820540" y="2430899"/>
              <a:ext cx="85362" cy="92927"/>
            </a:xfrm>
            <a:custGeom>
              <a:avLst/>
              <a:gdLst>
                <a:gd name="connsiteX0" fmla="*/ 68297 w 85362"/>
                <a:gd name="connsiteY0" fmla="*/ 92927 h 92927"/>
                <a:gd name="connsiteX1" fmla="*/ 85362 w 85362"/>
                <a:gd name="connsiteY1" fmla="*/ 92927 h 92927"/>
                <a:gd name="connsiteX2" fmla="*/ 85362 w 85362"/>
                <a:gd name="connsiteY2" fmla="*/ 18554 h 92927"/>
                <a:gd name="connsiteX3" fmla="*/ 85362 w 85362"/>
                <a:gd name="connsiteY3" fmla="*/ 0 h 92927"/>
                <a:gd name="connsiteX4" fmla="*/ 68297 w 85362"/>
                <a:gd name="connsiteY4" fmla="*/ 0 h 92927"/>
                <a:gd name="connsiteX5" fmla="*/ 0 w 85362"/>
                <a:gd name="connsiteY5" fmla="*/ 0 h 92927"/>
                <a:gd name="connsiteX6" fmla="*/ 0 w 85362"/>
                <a:gd name="connsiteY6" fmla="*/ 18554 h 92927"/>
                <a:gd name="connsiteX7" fmla="*/ 68297 w 85362"/>
                <a:gd name="connsiteY7" fmla="*/ 18554 h 92927"/>
                <a:gd name="connsiteX8" fmla="*/ 68297 w 85362"/>
                <a:gd name="connsiteY8" fmla="*/ 92927 h 9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362" h="92927">
                  <a:moveTo>
                    <a:pt x="68297" y="92927"/>
                  </a:moveTo>
                  <a:lnTo>
                    <a:pt x="85362" y="92927"/>
                  </a:lnTo>
                  <a:lnTo>
                    <a:pt x="85362" y="18554"/>
                  </a:lnTo>
                  <a:lnTo>
                    <a:pt x="85362" y="0"/>
                  </a:lnTo>
                  <a:lnTo>
                    <a:pt x="68297" y="0"/>
                  </a:lnTo>
                  <a:lnTo>
                    <a:pt x="0" y="0"/>
                  </a:lnTo>
                  <a:lnTo>
                    <a:pt x="0" y="18554"/>
                  </a:lnTo>
                  <a:lnTo>
                    <a:pt x="68297" y="18554"/>
                  </a:lnTo>
                  <a:lnTo>
                    <a:pt x="68297" y="92927"/>
                  </a:lnTo>
                  <a:close/>
                </a:path>
              </a:pathLst>
            </a:custGeom>
            <a:solidFill>
              <a:srgbClr val="FF0000"/>
            </a:solidFill>
            <a:ln w="8533" cap="flat">
              <a:noFill/>
              <a:prstDash val="solid"/>
              <a:miter/>
            </a:ln>
          </p:spPr>
          <p:txBody>
            <a:bodyPr rtlCol="0" anchor="ctr"/>
            <a:lstStyle/>
            <a:p>
              <a:endParaRPr lang="en-IN"/>
            </a:p>
          </p:txBody>
        </p:sp>
        <p:sp>
          <p:nvSpPr>
            <p:cNvPr id="2072" name="Freeform: Shape 2071">
              <a:extLst>
                <a:ext uri="{FF2B5EF4-FFF2-40B4-BE49-F238E27FC236}">
                  <a16:creationId xmlns:a16="http://schemas.microsoft.com/office/drawing/2014/main" id="{D1360853-4D99-4D59-897A-8F9CB7A1EB4F}"/>
                </a:ext>
              </a:extLst>
            </p:cNvPr>
            <p:cNvSpPr/>
            <p:nvPr/>
          </p:nvSpPr>
          <p:spPr>
            <a:xfrm>
              <a:off x="308579" y="2598042"/>
              <a:ext cx="597323" cy="259708"/>
            </a:xfrm>
            <a:custGeom>
              <a:avLst/>
              <a:gdLst>
                <a:gd name="connsiteX0" fmla="*/ 0 w 597323"/>
                <a:gd name="connsiteY0" fmla="*/ 102047 h 259708"/>
                <a:gd name="connsiteX1" fmla="*/ 0 w 597323"/>
                <a:gd name="connsiteY1" fmla="*/ 241155 h 259708"/>
                <a:gd name="connsiteX2" fmla="*/ 0 w 597323"/>
                <a:gd name="connsiteY2" fmla="*/ 259708 h 259708"/>
                <a:gd name="connsiteX3" fmla="*/ 17066 w 597323"/>
                <a:gd name="connsiteY3" fmla="*/ 259708 h 259708"/>
                <a:gd name="connsiteX4" fmla="*/ 580258 w 597323"/>
                <a:gd name="connsiteY4" fmla="*/ 259708 h 259708"/>
                <a:gd name="connsiteX5" fmla="*/ 597323 w 597323"/>
                <a:gd name="connsiteY5" fmla="*/ 259708 h 259708"/>
                <a:gd name="connsiteX6" fmla="*/ 597323 w 597323"/>
                <a:gd name="connsiteY6" fmla="*/ 241155 h 259708"/>
                <a:gd name="connsiteX7" fmla="*/ 597323 w 597323"/>
                <a:gd name="connsiteY7" fmla="*/ 0 h 259708"/>
                <a:gd name="connsiteX8" fmla="*/ 580258 w 597323"/>
                <a:gd name="connsiteY8" fmla="*/ 0 h 259708"/>
                <a:gd name="connsiteX9" fmla="*/ 580258 w 597323"/>
                <a:gd name="connsiteY9" fmla="*/ 241155 h 259708"/>
                <a:gd name="connsiteX10" fmla="*/ 17066 w 597323"/>
                <a:gd name="connsiteY10" fmla="*/ 241155 h 259708"/>
                <a:gd name="connsiteX11" fmla="*/ 17066 w 597323"/>
                <a:gd name="connsiteY11" fmla="*/ 102047 h 259708"/>
                <a:gd name="connsiteX12" fmla="*/ 0 w 597323"/>
                <a:gd name="connsiteY12" fmla="*/ 102047 h 259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97323" h="259708">
                  <a:moveTo>
                    <a:pt x="0" y="102047"/>
                  </a:moveTo>
                  <a:lnTo>
                    <a:pt x="0" y="241155"/>
                  </a:lnTo>
                  <a:lnTo>
                    <a:pt x="0" y="259708"/>
                  </a:lnTo>
                  <a:lnTo>
                    <a:pt x="17066" y="259708"/>
                  </a:lnTo>
                  <a:lnTo>
                    <a:pt x="580258" y="259708"/>
                  </a:lnTo>
                  <a:lnTo>
                    <a:pt x="597323" y="259708"/>
                  </a:lnTo>
                  <a:lnTo>
                    <a:pt x="597323" y="241155"/>
                  </a:lnTo>
                  <a:lnTo>
                    <a:pt x="597323" y="0"/>
                  </a:lnTo>
                  <a:lnTo>
                    <a:pt x="580258" y="0"/>
                  </a:lnTo>
                  <a:lnTo>
                    <a:pt x="580258" y="241155"/>
                  </a:lnTo>
                  <a:lnTo>
                    <a:pt x="17066" y="241155"/>
                  </a:lnTo>
                  <a:lnTo>
                    <a:pt x="17066" y="102047"/>
                  </a:lnTo>
                  <a:lnTo>
                    <a:pt x="0" y="102047"/>
                  </a:lnTo>
                  <a:close/>
                </a:path>
              </a:pathLst>
            </a:custGeom>
            <a:solidFill>
              <a:srgbClr val="FF0000"/>
            </a:solidFill>
            <a:ln w="8533" cap="flat">
              <a:noFill/>
              <a:prstDash val="solid"/>
              <a:miter/>
            </a:ln>
          </p:spPr>
          <p:txBody>
            <a:bodyPr rtlCol="0" anchor="ctr"/>
            <a:lstStyle/>
            <a:p>
              <a:endParaRPr lang="en-IN"/>
            </a:p>
          </p:txBody>
        </p:sp>
        <p:sp>
          <p:nvSpPr>
            <p:cNvPr id="2073" name="Freeform: Shape 2072">
              <a:extLst>
                <a:ext uri="{FF2B5EF4-FFF2-40B4-BE49-F238E27FC236}">
                  <a16:creationId xmlns:a16="http://schemas.microsoft.com/office/drawing/2014/main" id="{F3E2B0AE-45AA-418E-8B9E-F042E844D044}"/>
                </a:ext>
              </a:extLst>
            </p:cNvPr>
            <p:cNvSpPr/>
            <p:nvPr/>
          </p:nvSpPr>
          <p:spPr>
            <a:xfrm>
              <a:off x="265906" y="2384505"/>
              <a:ext cx="486370" cy="65105"/>
            </a:xfrm>
            <a:custGeom>
              <a:avLst/>
              <a:gdLst>
                <a:gd name="connsiteX0" fmla="*/ 17066 w 486370"/>
                <a:gd name="connsiteY0" fmla="*/ 37108 h 65105"/>
                <a:gd name="connsiteX1" fmla="*/ 34131 w 486370"/>
                <a:gd name="connsiteY1" fmla="*/ 18554 h 65105"/>
                <a:gd name="connsiteX2" fmla="*/ 486371 w 486370"/>
                <a:gd name="connsiteY2" fmla="*/ 18554 h 65105"/>
                <a:gd name="connsiteX3" fmla="*/ 486371 w 486370"/>
                <a:gd name="connsiteY3" fmla="*/ 0 h 65105"/>
                <a:gd name="connsiteX4" fmla="*/ 34131 w 486370"/>
                <a:gd name="connsiteY4" fmla="*/ 0 h 65105"/>
                <a:gd name="connsiteX5" fmla="*/ 0 w 486370"/>
                <a:gd name="connsiteY5" fmla="*/ 37108 h 65105"/>
                <a:gd name="connsiteX6" fmla="*/ 0 w 486370"/>
                <a:gd name="connsiteY6" fmla="*/ 65106 h 65105"/>
                <a:gd name="connsiteX7" fmla="*/ 17066 w 486370"/>
                <a:gd name="connsiteY7" fmla="*/ 65106 h 65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6370" h="65105">
                  <a:moveTo>
                    <a:pt x="17066" y="37108"/>
                  </a:moveTo>
                  <a:cubicBezTo>
                    <a:pt x="17066" y="26860"/>
                    <a:pt x="24706" y="18554"/>
                    <a:pt x="34131" y="18554"/>
                  </a:cubicBezTo>
                  <a:lnTo>
                    <a:pt x="486371" y="18554"/>
                  </a:lnTo>
                  <a:lnTo>
                    <a:pt x="486371" y="0"/>
                  </a:lnTo>
                  <a:lnTo>
                    <a:pt x="34131" y="0"/>
                  </a:lnTo>
                  <a:cubicBezTo>
                    <a:pt x="15304" y="61"/>
                    <a:pt x="56" y="16639"/>
                    <a:pt x="0" y="37108"/>
                  </a:cubicBezTo>
                  <a:lnTo>
                    <a:pt x="0" y="65106"/>
                  </a:lnTo>
                  <a:lnTo>
                    <a:pt x="17066" y="65106"/>
                  </a:lnTo>
                  <a:close/>
                </a:path>
              </a:pathLst>
            </a:custGeom>
            <a:solidFill>
              <a:srgbClr val="FF0000"/>
            </a:solidFill>
            <a:ln w="8533" cap="flat">
              <a:noFill/>
              <a:prstDash val="solid"/>
              <a:miter/>
            </a:ln>
          </p:spPr>
          <p:txBody>
            <a:bodyPr rtlCol="0" anchor="ctr"/>
            <a:lstStyle/>
            <a:p>
              <a:endParaRPr lang="en-IN"/>
            </a:p>
          </p:txBody>
        </p:sp>
        <p:sp>
          <p:nvSpPr>
            <p:cNvPr id="2074" name="Freeform: Shape 2073">
              <a:extLst>
                <a:ext uri="{FF2B5EF4-FFF2-40B4-BE49-F238E27FC236}">
                  <a16:creationId xmlns:a16="http://schemas.microsoft.com/office/drawing/2014/main" id="{1CAD8608-16ED-4E70-94EB-9BBEFE7A07D8}"/>
                </a:ext>
              </a:extLst>
            </p:cNvPr>
            <p:cNvSpPr/>
            <p:nvPr/>
          </p:nvSpPr>
          <p:spPr>
            <a:xfrm>
              <a:off x="820540" y="2384505"/>
              <a:ext cx="127992" cy="139321"/>
            </a:xfrm>
            <a:custGeom>
              <a:avLst/>
              <a:gdLst>
                <a:gd name="connsiteX0" fmla="*/ 110927 w 127992"/>
                <a:gd name="connsiteY0" fmla="*/ 37108 h 139321"/>
                <a:gd name="connsiteX1" fmla="*/ 110927 w 127992"/>
                <a:gd name="connsiteY1" fmla="*/ 139321 h 139321"/>
                <a:gd name="connsiteX2" fmla="*/ 127992 w 127992"/>
                <a:gd name="connsiteY2" fmla="*/ 139321 h 139321"/>
                <a:gd name="connsiteX3" fmla="*/ 127992 w 127992"/>
                <a:gd name="connsiteY3" fmla="*/ 37108 h 139321"/>
                <a:gd name="connsiteX4" fmla="*/ 93861 w 127992"/>
                <a:gd name="connsiteY4" fmla="*/ 0 h 139321"/>
                <a:gd name="connsiteX5" fmla="*/ 0 w 127992"/>
                <a:gd name="connsiteY5" fmla="*/ 0 h 139321"/>
                <a:gd name="connsiteX6" fmla="*/ 0 w 127992"/>
                <a:gd name="connsiteY6" fmla="*/ 18554 h 139321"/>
                <a:gd name="connsiteX7" fmla="*/ 93861 w 127992"/>
                <a:gd name="connsiteY7" fmla="*/ 18554 h 139321"/>
                <a:gd name="connsiteX8" fmla="*/ 110927 w 127992"/>
                <a:gd name="connsiteY8" fmla="*/ 37108 h 13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992" h="139321">
                  <a:moveTo>
                    <a:pt x="110927" y="37108"/>
                  </a:moveTo>
                  <a:lnTo>
                    <a:pt x="110927" y="139321"/>
                  </a:lnTo>
                  <a:lnTo>
                    <a:pt x="127992" y="139321"/>
                  </a:lnTo>
                  <a:lnTo>
                    <a:pt x="127992" y="37108"/>
                  </a:lnTo>
                  <a:cubicBezTo>
                    <a:pt x="127936" y="16639"/>
                    <a:pt x="112688" y="61"/>
                    <a:pt x="93861" y="0"/>
                  </a:cubicBezTo>
                  <a:lnTo>
                    <a:pt x="0" y="0"/>
                  </a:lnTo>
                  <a:lnTo>
                    <a:pt x="0" y="18554"/>
                  </a:lnTo>
                  <a:lnTo>
                    <a:pt x="93861" y="18554"/>
                  </a:lnTo>
                  <a:cubicBezTo>
                    <a:pt x="103286" y="18554"/>
                    <a:pt x="110927" y="26860"/>
                    <a:pt x="110927" y="37108"/>
                  </a:cubicBezTo>
                  <a:close/>
                </a:path>
              </a:pathLst>
            </a:custGeom>
            <a:solidFill>
              <a:srgbClr val="FF0000"/>
            </a:solidFill>
            <a:ln w="8533" cap="flat">
              <a:noFill/>
              <a:prstDash val="solid"/>
              <a:miter/>
            </a:ln>
          </p:spPr>
          <p:txBody>
            <a:bodyPr rtlCol="0" anchor="ctr"/>
            <a:lstStyle/>
            <a:p>
              <a:endParaRPr lang="en-IN"/>
            </a:p>
          </p:txBody>
        </p:sp>
        <p:sp>
          <p:nvSpPr>
            <p:cNvPr id="2075" name="Freeform: Shape 2074">
              <a:extLst>
                <a:ext uri="{FF2B5EF4-FFF2-40B4-BE49-F238E27FC236}">
                  <a16:creationId xmlns:a16="http://schemas.microsoft.com/office/drawing/2014/main" id="{8C54DE5F-D4F2-4AFA-BE44-F130D1A82C97}"/>
                </a:ext>
              </a:extLst>
            </p:cNvPr>
            <p:cNvSpPr/>
            <p:nvPr/>
          </p:nvSpPr>
          <p:spPr>
            <a:xfrm>
              <a:off x="265906" y="2598042"/>
              <a:ext cx="682625" cy="417463"/>
            </a:xfrm>
            <a:custGeom>
              <a:avLst/>
              <a:gdLst>
                <a:gd name="connsiteX0" fmla="*/ 665560 w 682625"/>
                <a:gd name="connsiteY0" fmla="*/ 269032 h 417463"/>
                <a:gd name="connsiteX1" fmla="*/ 648495 w 682625"/>
                <a:gd name="connsiteY1" fmla="*/ 287586 h 417463"/>
                <a:gd name="connsiteX2" fmla="*/ 34131 w 682625"/>
                <a:gd name="connsiteY2" fmla="*/ 287586 h 417463"/>
                <a:gd name="connsiteX3" fmla="*/ 17066 w 682625"/>
                <a:gd name="connsiteY3" fmla="*/ 269032 h 417463"/>
                <a:gd name="connsiteX4" fmla="*/ 17066 w 682625"/>
                <a:gd name="connsiteY4" fmla="*/ 102047 h 417463"/>
                <a:gd name="connsiteX5" fmla="*/ 0 w 682625"/>
                <a:gd name="connsiteY5" fmla="*/ 102047 h 417463"/>
                <a:gd name="connsiteX6" fmla="*/ 0 w 682625"/>
                <a:gd name="connsiteY6" fmla="*/ 269032 h 417463"/>
                <a:gd name="connsiteX7" fmla="*/ 34131 w 682625"/>
                <a:gd name="connsiteY7" fmla="*/ 306140 h 417463"/>
                <a:gd name="connsiteX8" fmla="*/ 281583 w 682625"/>
                <a:gd name="connsiteY8" fmla="*/ 306140 h 417463"/>
                <a:gd name="connsiteX9" fmla="*/ 281583 w 682625"/>
                <a:gd name="connsiteY9" fmla="*/ 398909 h 417463"/>
                <a:gd name="connsiteX10" fmla="*/ 187722 w 682625"/>
                <a:gd name="connsiteY10" fmla="*/ 398909 h 417463"/>
                <a:gd name="connsiteX11" fmla="*/ 187722 w 682625"/>
                <a:gd name="connsiteY11" fmla="*/ 417463 h 417463"/>
                <a:gd name="connsiteX12" fmla="*/ 494904 w 682625"/>
                <a:gd name="connsiteY12" fmla="*/ 417463 h 417463"/>
                <a:gd name="connsiteX13" fmla="*/ 494904 w 682625"/>
                <a:gd name="connsiteY13" fmla="*/ 398909 h 417463"/>
                <a:gd name="connsiteX14" fmla="*/ 401043 w 682625"/>
                <a:gd name="connsiteY14" fmla="*/ 398909 h 417463"/>
                <a:gd name="connsiteX15" fmla="*/ 401043 w 682625"/>
                <a:gd name="connsiteY15" fmla="*/ 306140 h 417463"/>
                <a:gd name="connsiteX16" fmla="*/ 648495 w 682625"/>
                <a:gd name="connsiteY16" fmla="*/ 306140 h 417463"/>
                <a:gd name="connsiteX17" fmla="*/ 682626 w 682625"/>
                <a:gd name="connsiteY17" fmla="*/ 269032 h 417463"/>
                <a:gd name="connsiteX18" fmla="*/ 682626 w 682625"/>
                <a:gd name="connsiteY18" fmla="*/ 0 h 417463"/>
                <a:gd name="connsiteX19" fmla="*/ 665560 w 682625"/>
                <a:gd name="connsiteY19" fmla="*/ 0 h 417463"/>
                <a:gd name="connsiteX20" fmla="*/ 383977 w 682625"/>
                <a:gd name="connsiteY20" fmla="*/ 398909 h 417463"/>
                <a:gd name="connsiteX21" fmla="*/ 298649 w 682625"/>
                <a:gd name="connsiteY21" fmla="*/ 398909 h 417463"/>
                <a:gd name="connsiteX22" fmla="*/ 298649 w 682625"/>
                <a:gd name="connsiteY22" fmla="*/ 306140 h 417463"/>
                <a:gd name="connsiteX23" fmla="*/ 383977 w 682625"/>
                <a:gd name="connsiteY23" fmla="*/ 306140 h 417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2625" h="417463">
                  <a:moveTo>
                    <a:pt x="665560" y="269032"/>
                  </a:moveTo>
                  <a:cubicBezTo>
                    <a:pt x="665560" y="279279"/>
                    <a:pt x="657920" y="287586"/>
                    <a:pt x="648495" y="287586"/>
                  </a:cubicBezTo>
                  <a:lnTo>
                    <a:pt x="34131" y="287586"/>
                  </a:lnTo>
                  <a:cubicBezTo>
                    <a:pt x="24706" y="287586"/>
                    <a:pt x="17066" y="279279"/>
                    <a:pt x="17066" y="269032"/>
                  </a:cubicBezTo>
                  <a:lnTo>
                    <a:pt x="17066" y="102047"/>
                  </a:lnTo>
                  <a:lnTo>
                    <a:pt x="0" y="102047"/>
                  </a:lnTo>
                  <a:lnTo>
                    <a:pt x="0" y="269032"/>
                  </a:lnTo>
                  <a:cubicBezTo>
                    <a:pt x="61" y="289499"/>
                    <a:pt x="15306" y="306074"/>
                    <a:pt x="34131" y="306140"/>
                  </a:cubicBezTo>
                  <a:lnTo>
                    <a:pt x="281583" y="306140"/>
                  </a:lnTo>
                  <a:lnTo>
                    <a:pt x="281583" y="398909"/>
                  </a:lnTo>
                  <a:lnTo>
                    <a:pt x="187722" y="398909"/>
                  </a:lnTo>
                  <a:lnTo>
                    <a:pt x="187722" y="417463"/>
                  </a:lnTo>
                  <a:lnTo>
                    <a:pt x="494904" y="417463"/>
                  </a:lnTo>
                  <a:lnTo>
                    <a:pt x="494904" y="398909"/>
                  </a:lnTo>
                  <a:lnTo>
                    <a:pt x="401043" y="398909"/>
                  </a:lnTo>
                  <a:lnTo>
                    <a:pt x="401043" y="306140"/>
                  </a:lnTo>
                  <a:lnTo>
                    <a:pt x="648495" y="306140"/>
                  </a:lnTo>
                  <a:cubicBezTo>
                    <a:pt x="667320" y="306074"/>
                    <a:pt x="682565" y="289499"/>
                    <a:pt x="682626" y="269032"/>
                  </a:cubicBezTo>
                  <a:lnTo>
                    <a:pt x="682626" y="0"/>
                  </a:lnTo>
                  <a:lnTo>
                    <a:pt x="665560" y="0"/>
                  </a:lnTo>
                  <a:close/>
                  <a:moveTo>
                    <a:pt x="383977" y="398909"/>
                  </a:moveTo>
                  <a:lnTo>
                    <a:pt x="298649" y="398909"/>
                  </a:lnTo>
                  <a:lnTo>
                    <a:pt x="298649" y="306140"/>
                  </a:lnTo>
                  <a:lnTo>
                    <a:pt x="383977" y="306140"/>
                  </a:lnTo>
                  <a:close/>
                </a:path>
              </a:pathLst>
            </a:custGeom>
            <a:solidFill>
              <a:srgbClr val="FF0000"/>
            </a:solidFill>
            <a:ln w="8533" cap="flat">
              <a:noFill/>
              <a:prstDash val="solid"/>
              <a:miter/>
            </a:ln>
          </p:spPr>
          <p:txBody>
            <a:bodyPr rtlCol="0" anchor="ctr"/>
            <a:lstStyle/>
            <a:p>
              <a:endParaRPr lang="en-IN"/>
            </a:p>
          </p:txBody>
        </p:sp>
        <p:sp>
          <p:nvSpPr>
            <p:cNvPr id="2076" name="Freeform: Shape 2075">
              <a:extLst>
                <a:ext uri="{FF2B5EF4-FFF2-40B4-BE49-F238E27FC236}">
                  <a16:creationId xmlns:a16="http://schemas.microsoft.com/office/drawing/2014/main" id="{779103D1-8AA7-4A41-A341-5D24D2C21F83}"/>
                </a:ext>
              </a:extLst>
            </p:cNvPr>
            <p:cNvSpPr/>
            <p:nvPr/>
          </p:nvSpPr>
          <p:spPr>
            <a:xfrm>
              <a:off x="214709" y="2477441"/>
              <a:ext cx="221853" cy="194816"/>
            </a:xfrm>
            <a:custGeom>
              <a:avLst/>
              <a:gdLst>
                <a:gd name="connsiteX0" fmla="*/ 221853 w 221853"/>
                <a:gd name="connsiteY0" fmla="*/ 0 h 194816"/>
                <a:gd name="connsiteX1" fmla="*/ 0 w 221853"/>
                <a:gd name="connsiteY1" fmla="*/ 0 h 194816"/>
                <a:gd name="connsiteX2" fmla="*/ 0 w 221853"/>
                <a:gd name="connsiteY2" fmla="*/ 194816 h 194816"/>
                <a:gd name="connsiteX3" fmla="*/ 221853 w 221853"/>
                <a:gd name="connsiteY3" fmla="*/ 194816 h 194816"/>
                <a:gd name="connsiteX4" fmla="*/ 204788 w 221853"/>
                <a:gd name="connsiteY4" fmla="*/ 176262 h 194816"/>
                <a:gd name="connsiteX5" fmla="*/ 17066 w 221853"/>
                <a:gd name="connsiteY5" fmla="*/ 176262 h 194816"/>
                <a:gd name="connsiteX6" fmla="*/ 17066 w 221853"/>
                <a:gd name="connsiteY6" fmla="*/ 18554 h 194816"/>
                <a:gd name="connsiteX7" fmla="*/ 204788 w 221853"/>
                <a:gd name="connsiteY7" fmla="*/ 18554 h 194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1853" h="194816">
                  <a:moveTo>
                    <a:pt x="221853" y="0"/>
                  </a:moveTo>
                  <a:lnTo>
                    <a:pt x="0" y="0"/>
                  </a:lnTo>
                  <a:lnTo>
                    <a:pt x="0" y="194816"/>
                  </a:lnTo>
                  <a:lnTo>
                    <a:pt x="221853" y="194816"/>
                  </a:lnTo>
                  <a:close/>
                  <a:moveTo>
                    <a:pt x="204788" y="176262"/>
                  </a:moveTo>
                  <a:lnTo>
                    <a:pt x="17066" y="176262"/>
                  </a:lnTo>
                  <a:lnTo>
                    <a:pt x="17066" y="18554"/>
                  </a:lnTo>
                  <a:lnTo>
                    <a:pt x="204788" y="18554"/>
                  </a:lnTo>
                  <a:close/>
                </a:path>
              </a:pathLst>
            </a:custGeom>
            <a:solidFill>
              <a:srgbClr val="FF0000"/>
            </a:solidFill>
            <a:ln w="8533" cap="flat">
              <a:noFill/>
              <a:prstDash val="solid"/>
              <a:miter/>
            </a:ln>
          </p:spPr>
          <p:txBody>
            <a:bodyPr rtlCol="0" anchor="ctr"/>
            <a:lstStyle/>
            <a:p>
              <a:endParaRPr lang="en-IN"/>
            </a:p>
          </p:txBody>
        </p:sp>
        <p:sp>
          <p:nvSpPr>
            <p:cNvPr id="2077" name="Freeform: Shape 2076">
              <a:extLst>
                <a:ext uri="{FF2B5EF4-FFF2-40B4-BE49-F238E27FC236}">
                  <a16:creationId xmlns:a16="http://schemas.microsoft.com/office/drawing/2014/main" id="{6DF4F924-7303-458B-81A1-B28EED9AA9C4}"/>
                </a:ext>
              </a:extLst>
            </p:cNvPr>
            <p:cNvSpPr/>
            <p:nvPr/>
          </p:nvSpPr>
          <p:spPr>
            <a:xfrm>
              <a:off x="274439" y="2533103"/>
              <a:ext cx="102393" cy="18553"/>
            </a:xfrm>
            <a:custGeom>
              <a:avLst/>
              <a:gdLst>
                <a:gd name="connsiteX0" fmla="*/ 0 w 102393"/>
                <a:gd name="connsiteY0" fmla="*/ 0 h 18553"/>
                <a:gd name="connsiteX1" fmla="*/ 102394 w 102393"/>
                <a:gd name="connsiteY1" fmla="*/ 0 h 18553"/>
                <a:gd name="connsiteX2" fmla="*/ 102394 w 102393"/>
                <a:gd name="connsiteY2" fmla="*/ 18554 h 18553"/>
                <a:gd name="connsiteX3" fmla="*/ 0 w 102393"/>
                <a:gd name="connsiteY3" fmla="*/ 18554 h 18553"/>
              </a:gdLst>
              <a:ahLst/>
              <a:cxnLst>
                <a:cxn ang="0">
                  <a:pos x="connsiteX0" y="connsiteY0"/>
                </a:cxn>
                <a:cxn ang="0">
                  <a:pos x="connsiteX1" y="connsiteY1"/>
                </a:cxn>
                <a:cxn ang="0">
                  <a:pos x="connsiteX2" y="connsiteY2"/>
                </a:cxn>
                <a:cxn ang="0">
                  <a:pos x="connsiteX3" y="connsiteY3"/>
                </a:cxn>
              </a:cxnLst>
              <a:rect l="l" t="t" r="r" b="b"/>
              <a:pathLst>
                <a:path w="102393" h="18553">
                  <a:moveTo>
                    <a:pt x="0" y="0"/>
                  </a:moveTo>
                  <a:lnTo>
                    <a:pt x="102394" y="0"/>
                  </a:lnTo>
                  <a:lnTo>
                    <a:pt x="102394"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78" name="Freeform: Shape 2077">
              <a:extLst>
                <a:ext uri="{FF2B5EF4-FFF2-40B4-BE49-F238E27FC236}">
                  <a16:creationId xmlns:a16="http://schemas.microsoft.com/office/drawing/2014/main" id="{F8588EA2-4539-42EA-9988-615517018E13}"/>
                </a:ext>
              </a:extLst>
            </p:cNvPr>
            <p:cNvSpPr/>
            <p:nvPr/>
          </p:nvSpPr>
          <p:spPr>
            <a:xfrm>
              <a:off x="274439" y="2588765"/>
              <a:ext cx="68262" cy="18553"/>
            </a:xfrm>
            <a:custGeom>
              <a:avLst/>
              <a:gdLst>
                <a:gd name="connsiteX0" fmla="*/ 0 w 68262"/>
                <a:gd name="connsiteY0" fmla="*/ 0 h 18553"/>
                <a:gd name="connsiteX1" fmla="*/ 68263 w 68262"/>
                <a:gd name="connsiteY1" fmla="*/ 0 h 18553"/>
                <a:gd name="connsiteX2" fmla="*/ 68263 w 68262"/>
                <a:gd name="connsiteY2" fmla="*/ 18554 h 18553"/>
                <a:gd name="connsiteX3" fmla="*/ 0 w 68262"/>
                <a:gd name="connsiteY3" fmla="*/ 18554 h 18553"/>
              </a:gdLst>
              <a:ahLst/>
              <a:cxnLst>
                <a:cxn ang="0">
                  <a:pos x="connsiteX0" y="connsiteY0"/>
                </a:cxn>
                <a:cxn ang="0">
                  <a:pos x="connsiteX1" y="connsiteY1"/>
                </a:cxn>
                <a:cxn ang="0">
                  <a:pos x="connsiteX2" y="connsiteY2"/>
                </a:cxn>
                <a:cxn ang="0">
                  <a:pos x="connsiteX3" y="connsiteY3"/>
                </a:cxn>
              </a:cxnLst>
              <a:rect l="l" t="t" r="r" b="b"/>
              <a:pathLst>
                <a:path w="68262" h="18553">
                  <a:moveTo>
                    <a:pt x="0" y="0"/>
                  </a:moveTo>
                  <a:lnTo>
                    <a:pt x="68263" y="0"/>
                  </a:lnTo>
                  <a:lnTo>
                    <a:pt x="68263" y="18554"/>
                  </a:lnTo>
                  <a:lnTo>
                    <a:pt x="0" y="18554"/>
                  </a:lnTo>
                  <a:close/>
                </a:path>
              </a:pathLst>
            </a:custGeom>
            <a:solidFill>
              <a:srgbClr val="FF0000"/>
            </a:solidFill>
            <a:ln w="8533" cap="flat">
              <a:noFill/>
              <a:prstDash val="solid"/>
              <a:miter/>
            </a:ln>
          </p:spPr>
          <p:txBody>
            <a:bodyPr rtlCol="0" anchor="ctr"/>
            <a:lstStyle/>
            <a:p>
              <a:endParaRPr lang="en-IN"/>
            </a:p>
          </p:txBody>
        </p:sp>
        <p:sp>
          <p:nvSpPr>
            <p:cNvPr id="2079" name="Freeform: Shape 2078">
              <a:extLst>
                <a:ext uri="{FF2B5EF4-FFF2-40B4-BE49-F238E27FC236}">
                  <a16:creationId xmlns:a16="http://schemas.microsoft.com/office/drawing/2014/main" id="{60AFA587-1E92-4B39-ADB5-E00FF2395A6D}"/>
                </a:ext>
              </a:extLst>
            </p:cNvPr>
            <p:cNvSpPr/>
            <p:nvPr/>
          </p:nvSpPr>
          <p:spPr>
            <a:xfrm>
              <a:off x="487759" y="2514549"/>
              <a:ext cx="238919" cy="259754"/>
            </a:xfrm>
            <a:custGeom>
              <a:avLst/>
              <a:gdLst>
                <a:gd name="connsiteX0" fmla="*/ 119460 w 238919"/>
                <a:gd name="connsiteY0" fmla="*/ 259755 h 259754"/>
                <a:gd name="connsiteX1" fmla="*/ 238919 w 238919"/>
                <a:gd name="connsiteY1" fmla="*/ 129877 h 259754"/>
                <a:gd name="connsiteX2" fmla="*/ 119460 w 238919"/>
                <a:gd name="connsiteY2" fmla="*/ 0 h 259754"/>
                <a:gd name="connsiteX3" fmla="*/ 0 w 238919"/>
                <a:gd name="connsiteY3" fmla="*/ 129877 h 259754"/>
                <a:gd name="connsiteX4" fmla="*/ 119460 w 238919"/>
                <a:gd name="connsiteY4" fmla="*/ 259755 h 259754"/>
                <a:gd name="connsiteX5" fmla="*/ 59841 w 238919"/>
                <a:gd name="connsiteY5" fmla="*/ 220207 h 259754"/>
                <a:gd name="connsiteX6" fmla="*/ 121716 w 238919"/>
                <a:gd name="connsiteY6" fmla="*/ 157842 h 259754"/>
                <a:gd name="connsiteX7" fmla="*/ 179078 w 238919"/>
                <a:gd name="connsiteY7" fmla="*/ 220207 h 259754"/>
                <a:gd name="connsiteX8" fmla="*/ 59841 w 238919"/>
                <a:gd name="connsiteY8" fmla="*/ 220207 h 259754"/>
                <a:gd name="connsiteX9" fmla="*/ 93861 w 238919"/>
                <a:gd name="connsiteY9" fmla="*/ 111324 h 259754"/>
                <a:gd name="connsiteX10" fmla="*/ 119460 w 238919"/>
                <a:gd name="connsiteY10" fmla="*/ 83493 h 259754"/>
                <a:gd name="connsiteX11" fmla="*/ 145058 w 238919"/>
                <a:gd name="connsiteY11" fmla="*/ 111324 h 259754"/>
                <a:gd name="connsiteX12" fmla="*/ 119460 w 238919"/>
                <a:gd name="connsiteY12" fmla="*/ 139154 h 259754"/>
                <a:gd name="connsiteX13" fmla="*/ 93861 w 238919"/>
                <a:gd name="connsiteY13" fmla="*/ 111324 h 259754"/>
                <a:gd name="connsiteX14" fmla="*/ 119460 w 238919"/>
                <a:gd name="connsiteY14" fmla="*/ 18554 h 259754"/>
                <a:gd name="connsiteX15" fmla="*/ 221841 w 238919"/>
                <a:gd name="connsiteY15" fmla="*/ 129519 h 259754"/>
                <a:gd name="connsiteX16" fmla="*/ 194548 w 238919"/>
                <a:gd name="connsiteY16" fmla="*/ 205290 h 259754"/>
                <a:gd name="connsiteX17" fmla="*/ 148258 w 238919"/>
                <a:gd name="connsiteY17" fmla="*/ 145305 h 259754"/>
                <a:gd name="connsiteX18" fmla="*/ 150906 w 238919"/>
                <a:gd name="connsiteY18" fmla="*/ 79770 h 259754"/>
                <a:gd name="connsiteX19" fmla="*/ 90627 w 238919"/>
                <a:gd name="connsiteY19" fmla="*/ 76892 h 259754"/>
                <a:gd name="connsiteX20" fmla="*/ 87979 w 238919"/>
                <a:gd name="connsiteY20" fmla="*/ 142426 h 259754"/>
                <a:gd name="connsiteX21" fmla="*/ 90627 w 238919"/>
                <a:gd name="connsiteY21" fmla="*/ 145305 h 259754"/>
                <a:gd name="connsiteX22" fmla="*/ 44371 w 238919"/>
                <a:gd name="connsiteY22" fmla="*/ 205290 h 259754"/>
                <a:gd name="connsiteX23" fmla="*/ 49767 w 238919"/>
                <a:gd name="connsiteY23" fmla="*/ 48226 h 259754"/>
                <a:gd name="connsiteX24" fmla="*/ 119460 w 238919"/>
                <a:gd name="connsiteY24" fmla="*/ 18554 h 259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38919" h="259754">
                  <a:moveTo>
                    <a:pt x="119460" y="259755"/>
                  </a:moveTo>
                  <a:cubicBezTo>
                    <a:pt x="185435" y="259755"/>
                    <a:pt x="238919" y="201607"/>
                    <a:pt x="238919" y="129877"/>
                  </a:cubicBezTo>
                  <a:cubicBezTo>
                    <a:pt x="238919" y="58148"/>
                    <a:pt x="185435" y="0"/>
                    <a:pt x="119460" y="0"/>
                  </a:cubicBezTo>
                  <a:cubicBezTo>
                    <a:pt x="53484" y="0"/>
                    <a:pt x="0" y="58148"/>
                    <a:pt x="0" y="129877"/>
                  </a:cubicBezTo>
                  <a:cubicBezTo>
                    <a:pt x="71" y="201575"/>
                    <a:pt x="53513" y="259678"/>
                    <a:pt x="119460" y="259755"/>
                  </a:cubicBezTo>
                  <a:close/>
                  <a:moveTo>
                    <a:pt x="59841" y="220207"/>
                  </a:moveTo>
                  <a:cubicBezTo>
                    <a:pt x="61086" y="184409"/>
                    <a:pt x="88789" y="156487"/>
                    <a:pt x="121716" y="157842"/>
                  </a:cubicBezTo>
                  <a:cubicBezTo>
                    <a:pt x="152895" y="159124"/>
                    <a:pt x="177898" y="186309"/>
                    <a:pt x="179078" y="220207"/>
                  </a:cubicBezTo>
                  <a:cubicBezTo>
                    <a:pt x="143502" y="248198"/>
                    <a:pt x="95417" y="248198"/>
                    <a:pt x="59841" y="220207"/>
                  </a:cubicBezTo>
                  <a:close/>
                  <a:moveTo>
                    <a:pt x="93861" y="111324"/>
                  </a:moveTo>
                  <a:cubicBezTo>
                    <a:pt x="93861" y="95953"/>
                    <a:pt x="105322" y="83493"/>
                    <a:pt x="119460" y="83493"/>
                  </a:cubicBezTo>
                  <a:cubicBezTo>
                    <a:pt x="133598" y="83493"/>
                    <a:pt x="145058" y="95953"/>
                    <a:pt x="145058" y="111324"/>
                  </a:cubicBezTo>
                  <a:cubicBezTo>
                    <a:pt x="145058" y="126694"/>
                    <a:pt x="133598" y="139154"/>
                    <a:pt x="119460" y="139154"/>
                  </a:cubicBezTo>
                  <a:cubicBezTo>
                    <a:pt x="105322" y="139154"/>
                    <a:pt x="93861" y="126694"/>
                    <a:pt x="93861" y="111324"/>
                  </a:cubicBezTo>
                  <a:close/>
                  <a:moveTo>
                    <a:pt x="119460" y="18554"/>
                  </a:moveTo>
                  <a:cubicBezTo>
                    <a:pt x="175916" y="18459"/>
                    <a:pt x="221754" y="68140"/>
                    <a:pt x="221841" y="129519"/>
                  </a:cubicBezTo>
                  <a:cubicBezTo>
                    <a:pt x="221881" y="157619"/>
                    <a:pt x="212129" y="184692"/>
                    <a:pt x="194548" y="205290"/>
                  </a:cubicBezTo>
                  <a:cubicBezTo>
                    <a:pt x="189191" y="178203"/>
                    <a:pt x="171862" y="155747"/>
                    <a:pt x="148258" y="145305"/>
                  </a:cubicBezTo>
                  <a:cubicBezTo>
                    <a:pt x="165634" y="128003"/>
                    <a:pt x="166819" y="98662"/>
                    <a:pt x="150906" y="79770"/>
                  </a:cubicBezTo>
                  <a:cubicBezTo>
                    <a:pt x="134991" y="60878"/>
                    <a:pt x="108003" y="59590"/>
                    <a:pt x="90627" y="76892"/>
                  </a:cubicBezTo>
                  <a:cubicBezTo>
                    <a:pt x="73251" y="94194"/>
                    <a:pt x="72066" y="123535"/>
                    <a:pt x="87979" y="142426"/>
                  </a:cubicBezTo>
                  <a:cubicBezTo>
                    <a:pt x="88823" y="143428"/>
                    <a:pt x="89706" y="144388"/>
                    <a:pt x="90627" y="145305"/>
                  </a:cubicBezTo>
                  <a:cubicBezTo>
                    <a:pt x="67036" y="155756"/>
                    <a:pt x="49721" y="178210"/>
                    <a:pt x="44371" y="205290"/>
                  </a:cubicBezTo>
                  <a:cubicBezTo>
                    <a:pt x="5968" y="160297"/>
                    <a:pt x="8384" y="89978"/>
                    <a:pt x="49767" y="48226"/>
                  </a:cubicBezTo>
                  <a:cubicBezTo>
                    <a:pt x="68712" y="29113"/>
                    <a:pt x="93614" y="18510"/>
                    <a:pt x="119460" y="18554"/>
                  </a:cubicBezTo>
                  <a:close/>
                </a:path>
              </a:pathLst>
            </a:custGeom>
            <a:solidFill>
              <a:srgbClr val="FF0000"/>
            </a:solidFill>
            <a:ln w="8533" cap="flat">
              <a:noFill/>
              <a:prstDash val="solid"/>
              <a:miter/>
            </a:ln>
          </p:spPr>
          <p:txBody>
            <a:bodyPr rtlCol="0" anchor="ctr"/>
            <a:lstStyle/>
            <a:p>
              <a:endParaRPr lang="en-IN"/>
            </a:p>
          </p:txBody>
        </p:sp>
        <p:sp>
          <p:nvSpPr>
            <p:cNvPr id="32" name="Freeform: Shape 31">
              <a:extLst>
                <a:ext uri="{FF2B5EF4-FFF2-40B4-BE49-F238E27FC236}">
                  <a16:creationId xmlns:a16="http://schemas.microsoft.com/office/drawing/2014/main" id="{87C1A73E-BCF7-40B3-BC9E-353915C50322}"/>
                </a:ext>
              </a:extLst>
            </p:cNvPr>
            <p:cNvSpPr/>
            <p:nvPr/>
          </p:nvSpPr>
          <p:spPr>
            <a:xfrm>
              <a:off x="752960" y="2690812"/>
              <a:ext cx="93178" cy="102046"/>
            </a:xfrm>
            <a:custGeom>
              <a:avLst/>
              <a:gdLst>
                <a:gd name="connsiteX0" fmla="*/ 91028 w 93178"/>
                <a:gd name="connsiteY0" fmla="*/ 33471 h 102046"/>
                <a:gd name="connsiteX1" fmla="*/ 88878 w 93178"/>
                <a:gd name="connsiteY1" fmla="*/ 31133 h 102046"/>
                <a:gd name="connsiteX2" fmla="*/ 3584 w 93178"/>
                <a:gd name="connsiteY2" fmla="*/ 0 h 102046"/>
                <a:gd name="connsiteX3" fmla="*/ 2867 w 93178"/>
                <a:gd name="connsiteY3" fmla="*/ 0 h 102046"/>
                <a:gd name="connsiteX4" fmla="*/ 0 w 93178"/>
                <a:gd name="connsiteY4" fmla="*/ 3117 h 102046"/>
                <a:gd name="connsiteX5" fmla="*/ 0 w 93178"/>
                <a:gd name="connsiteY5" fmla="*/ 3896 h 102046"/>
                <a:gd name="connsiteX6" fmla="*/ 27962 w 93178"/>
                <a:gd name="connsiteY6" fmla="*/ 97408 h 102046"/>
                <a:gd name="connsiteX7" fmla="*/ 31546 w 93178"/>
                <a:gd name="connsiteY7" fmla="*/ 99746 h 102046"/>
                <a:gd name="connsiteX8" fmla="*/ 33696 w 93178"/>
                <a:gd name="connsiteY8" fmla="*/ 97408 h 102046"/>
                <a:gd name="connsiteX9" fmla="*/ 44405 w 93178"/>
                <a:gd name="connsiteY9" fmla="*/ 65588 h 102046"/>
                <a:gd name="connsiteX10" fmla="*/ 44524 w 93178"/>
                <a:gd name="connsiteY10" fmla="*/ 65570 h 102046"/>
                <a:gd name="connsiteX11" fmla="*/ 44541 w 93178"/>
                <a:gd name="connsiteY11" fmla="*/ 65588 h 102046"/>
                <a:gd name="connsiteX12" fmla="*/ 78127 w 93178"/>
                <a:gd name="connsiteY12" fmla="*/ 102047 h 102046"/>
                <a:gd name="connsiteX13" fmla="*/ 93178 w 93178"/>
                <a:gd name="connsiteY13" fmla="*/ 85682 h 102046"/>
                <a:gd name="connsiteX14" fmla="*/ 59593 w 93178"/>
                <a:gd name="connsiteY14" fmla="*/ 49168 h 102046"/>
                <a:gd name="connsiteX15" fmla="*/ 59580 w 93178"/>
                <a:gd name="connsiteY15" fmla="*/ 49024 h 102046"/>
                <a:gd name="connsiteX16" fmla="*/ 59593 w 93178"/>
                <a:gd name="connsiteY16" fmla="*/ 49010 h 102046"/>
                <a:gd name="connsiteX17" fmla="*/ 88912 w 93178"/>
                <a:gd name="connsiteY17" fmla="*/ 37368 h 102046"/>
                <a:gd name="connsiteX18" fmla="*/ 91028 w 93178"/>
                <a:gd name="connsiteY18" fmla="*/ 33471 h 102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3178" h="102046">
                  <a:moveTo>
                    <a:pt x="91028" y="33471"/>
                  </a:moveTo>
                  <a:cubicBezTo>
                    <a:pt x="91028" y="32692"/>
                    <a:pt x="90311" y="31913"/>
                    <a:pt x="88878" y="31133"/>
                  </a:cubicBezTo>
                  <a:lnTo>
                    <a:pt x="3584" y="0"/>
                  </a:lnTo>
                  <a:lnTo>
                    <a:pt x="2867" y="0"/>
                  </a:lnTo>
                  <a:cubicBezTo>
                    <a:pt x="1329" y="112"/>
                    <a:pt x="103" y="1444"/>
                    <a:pt x="0" y="3117"/>
                  </a:cubicBezTo>
                  <a:lnTo>
                    <a:pt x="0" y="3896"/>
                  </a:lnTo>
                  <a:lnTo>
                    <a:pt x="27962" y="97408"/>
                  </a:lnTo>
                  <a:cubicBezTo>
                    <a:pt x="28647" y="98868"/>
                    <a:pt x="30038" y="99776"/>
                    <a:pt x="31546" y="99746"/>
                  </a:cubicBezTo>
                  <a:cubicBezTo>
                    <a:pt x="32263" y="99746"/>
                    <a:pt x="32979" y="98967"/>
                    <a:pt x="33696" y="97408"/>
                  </a:cubicBezTo>
                  <a:lnTo>
                    <a:pt x="44405" y="65588"/>
                  </a:lnTo>
                  <a:cubicBezTo>
                    <a:pt x="44433" y="65547"/>
                    <a:pt x="44487" y="65539"/>
                    <a:pt x="44524" y="65570"/>
                  </a:cubicBezTo>
                  <a:cubicBezTo>
                    <a:pt x="44531" y="65575"/>
                    <a:pt x="44536" y="65581"/>
                    <a:pt x="44541" y="65588"/>
                  </a:cubicBezTo>
                  <a:lnTo>
                    <a:pt x="78127" y="102047"/>
                  </a:lnTo>
                  <a:lnTo>
                    <a:pt x="93178" y="85682"/>
                  </a:lnTo>
                  <a:lnTo>
                    <a:pt x="59593" y="49168"/>
                  </a:lnTo>
                  <a:cubicBezTo>
                    <a:pt x="59553" y="49132"/>
                    <a:pt x="59547" y="49068"/>
                    <a:pt x="59580" y="49024"/>
                  </a:cubicBezTo>
                  <a:cubicBezTo>
                    <a:pt x="59584" y="49019"/>
                    <a:pt x="59588" y="49015"/>
                    <a:pt x="59593" y="49010"/>
                  </a:cubicBezTo>
                  <a:lnTo>
                    <a:pt x="88912" y="37368"/>
                  </a:lnTo>
                  <a:cubicBezTo>
                    <a:pt x="90242" y="36612"/>
                    <a:pt x="91062" y="35102"/>
                    <a:pt x="91028" y="33471"/>
                  </a:cubicBezTo>
                  <a:close/>
                </a:path>
              </a:pathLst>
            </a:custGeom>
            <a:solidFill>
              <a:srgbClr val="FF0000"/>
            </a:solidFill>
            <a:ln w="8533" cap="flat">
              <a:noFill/>
              <a:prstDash val="solid"/>
              <a:miter/>
            </a:ln>
          </p:spPr>
          <p:txBody>
            <a:bodyPr rtlCol="0" anchor="ctr"/>
            <a:lstStyle/>
            <a:p>
              <a:endParaRPr lang="en-IN"/>
            </a:p>
          </p:txBody>
        </p:sp>
      </p:grpSp>
      <p:cxnSp>
        <p:nvCxnSpPr>
          <p:cNvPr id="70" name="Straight Arrow Connector 69">
            <a:extLst>
              <a:ext uri="{FF2B5EF4-FFF2-40B4-BE49-F238E27FC236}">
                <a16:creationId xmlns:a16="http://schemas.microsoft.com/office/drawing/2014/main" id="{DBD00873-AFD8-4711-9492-1D7C3A2BACFE}"/>
              </a:ext>
            </a:extLst>
          </p:cNvPr>
          <p:cNvCxnSpPr>
            <a:cxnSpLocks/>
            <a:stCxn id="8" idx="1"/>
            <a:endCxn id="2075" idx="17"/>
          </p:cNvCxnSpPr>
          <p:nvPr/>
        </p:nvCxnSpPr>
        <p:spPr>
          <a:xfrm flipH="1" flipV="1">
            <a:off x="948532" y="2867074"/>
            <a:ext cx="710811" cy="4558"/>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10722587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00CE9C-82ED-4E61-8A26-4AA4B67A1708}"/>
              </a:ext>
            </a:extLst>
          </p:cNvPr>
          <p:cNvSpPr>
            <a:spLocks noGrp="1"/>
          </p:cNvSpPr>
          <p:nvPr>
            <p:ph type="title"/>
          </p:nvPr>
        </p:nvSpPr>
        <p:spPr>
          <a:xfrm>
            <a:off x="2464894" y="1645344"/>
            <a:ext cx="6879921" cy="664797"/>
          </a:xfrm>
        </p:spPr>
        <p:txBody>
          <a:bodyPr/>
          <a:lstStyle/>
          <a:p>
            <a:pPr algn="ctr"/>
            <a:r>
              <a:rPr lang="da-DK" dirty="0" err="1"/>
              <a:t>Thank</a:t>
            </a:r>
            <a:r>
              <a:rPr lang="da-DK" dirty="0"/>
              <a:t> </a:t>
            </a:r>
            <a:r>
              <a:rPr lang="da-DK" dirty="0" err="1"/>
              <a:t>you</a:t>
            </a:r>
            <a:r>
              <a:rPr lang="da-DK" dirty="0"/>
              <a:t>!</a:t>
            </a:r>
          </a:p>
        </p:txBody>
      </p:sp>
      <p:pic>
        <p:nvPicPr>
          <p:cNvPr id="5" name="Picture 4">
            <a:extLst>
              <a:ext uri="{FF2B5EF4-FFF2-40B4-BE49-F238E27FC236}">
                <a16:creationId xmlns:a16="http://schemas.microsoft.com/office/drawing/2014/main" id="{7991652A-A1A6-4C07-A1F9-F4AECBE750F4}"/>
              </a:ext>
            </a:extLst>
          </p:cNvPr>
          <p:cNvPicPr>
            <a:picLocks noChangeAspect="1"/>
          </p:cNvPicPr>
          <p:nvPr/>
        </p:nvPicPr>
        <p:blipFill>
          <a:blip r:embed="rId2"/>
          <a:stretch>
            <a:fillRect/>
          </a:stretch>
        </p:blipFill>
        <p:spPr>
          <a:xfrm>
            <a:off x="1737361" y="2722450"/>
            <a:ext cx="1816798" cy="1756739"/>
          </a:xfrm>
          <a:prstGeom prst="foldedCorner">
            <a:avLst>
              <a:gd name="adj" fmla="val 50000"/>
            </a:avLst>
          </a:prstGeom>
        </p:spPr>
      </p:pic>
      <p:pic>
        <p:nvPicPr>
          <p:cNvPr id="7" name="Picture 6">
            <a:extLst>
              <a:ext uri="{FF2B5EF4-FFF2-40B4-BE49-F238E27FC236}">
                <a16:creationId xmlns:a16="http://schemas.microsoft.com/office/drawing/2014/main" id="{17DFCD7A-4834-4971-8ABD-02F4340AE434}"/>
              </a:ext>
            </a:extLst>
          </p:cNvPr>
          <p:cNvPicPr>
            <a:picLocks noChangeAspect="1"/>
          </p:cNvPicPr>
          <p:nvPr/>
        </p:nvPicPr>
        <p:blipFill>
          <a:blip r:embed="rId3"/>
          <a:stretch>
            <a:fillRect/>
          </a:stretch>
        </p:blipFill>
        <p:spPr>
          <a:xfrm>
            <a:off x="3807582" y="2722449"/>
            <a:ext cx="1843850" cy="1756739"/>
          </a:xfrm>
          <a:prstGeom prst="foldedCorner">
            <a:avLst>
              <a:gd name="adj" fmla="val 50000"/>
            </a:avLst>
          </a:prstGeom>
        </p:spPr>
      </p:pic>
      <p:pic>
        <p:nvPicPr>
          <p:cNvPr id="9" name="Picture 8">
            <a:extLst>
              <a:ext uri="{FF2B5EF4-FFF2-40B4-BE49-F238E27FC236}">
                <a16:creationId xmlns:a16="http://schemas.microsoft.com/office/drawing/2014/main" id="{765C738D-DC64-4543-8B61-66AE3207CE95}"/>
              </a:ext>
            </a:extLst>
          </p:cNvPr>
          <p:cNvPicPr>
            <a:picLocks noChangeAspect="1"/>
          </p:cNvPicPr>
          <p:nvPr/>
        </p:nvPicPr>
        <p:blipFill>
          <a:blip r:embed="rId4"/>
          <a:stretch>
            <a:fillRect/>
          </a:stretch>
        </p:blipFill>
        <p:spPr>
          <a:xfrm>
            <a:off x="5904855" y="2722449"/>
            <a:ext cx="1787290" cy="1756739"/>
          </a:xfrm>
          <a:prstGeom prst="foldedCorner">
            <a:avLst>
              <a:gd name="adj" fmla="val 50000"/>
            </a:avLst>
          </a:prstGeom>
        </p:spPr>
      </p:pic>
      <p:pic>
        <p:nvPicPr>
          <p:cNvPr id="4098" name="id-5BEA2BC7-F220-49F1-AA7F-4612FEFB295D" descr="Image.jpeg">
            <a:extLst>
              <a:ext uri="{FF2B5EF4-FFF2-40B4-BE49-F238E27FC236}">
                <a16:creationId xmlns:a16="http://schemas.microsoft.com/office/drawing/2014/main" id="{7E9D9CB2-11DB-4326-A41F-CD525F55BC4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1872" t="7871" r="14723" b="30063"/>
          <a:stretch/>
        </p:blipFill>
        <p:spPr bwMode="auto">
          <a:xfrm>
            <a:off x="8049329" y="2722449"/>
            <a:ext cx="1917631" cy="1761403"/>
          </a:xfrm>
          <a:prstGeom prst="foldedCorner">
            <a:avLst>
              <a:gd name="adj" fmla="val 5000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355850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16B5BF34AF0B040A8FC0CC8DC294259" ma:contentTypeVersion="4" ma:contentTypeDescription="Create a new document." ma:contentTypeScope="" ma:versionID="0637706817703c8270883dd9cc646065">
  <xsd:schema xmlns:xsd="http://www.w3.org/2001/XMLSchema" xmlns:xs="http://www.w3.org/2001/XMLSchema" xmlns:p="http://schemas.microsoft.com/office/2006/metadata/properties" xmlns:ns2="702fdc93-2b68-4bec-afe6-ab6512ffa8ed" targetNamespace="http://schemas.microsoft.com/office/2006/metadata/properties" ma:root="true" ma:fieldsID="1d4d9004bef05b0b07c2527a323c80f2" ns2:_="">
    <xsd:import namespace="702fdc93-2b68-4bec-afe6-ab6512ffa8ed"/>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02fdc93-2b68-4bec-afe6-ab6512ffa8e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1AE556A-C7E7-4114-B02C-7D7F2C9E5FB3}">
  <ds:schemaRefs>
    <ds:schemaRef ds:uri="http://schemas.microsoft.com/sharepoint/v3/contenttype/forms"/>
  </ds:schemaRefs>
</ds:datastoreItem>
</file>

<file path=customXml/itemProps2.xml><?xml version="1.0" encoding="utf-8"?>
<ds:datastoreItem xmlns:ds="http://schemas.openxmlformats.org/officeDocument/2006/customXml" ds:itemID="{A53F5F50-5B75-4A36-8A79-6E7CCFE98CE9}">
  <ds:schemaRefs>
    <ds:schemaRef ds:uri="702fdc93-2b68-4bec-afe6-ab6512ffa8e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DFA2319-64C9-4BD2-9AD0-C8F2EE8491D0}">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1178</TotalTime>
  <Words>400</Words>
  <Application>Microsoft Office PowerPoint</Application>
  <PresentationFormat>Widescreen</PresentationFormat>
  <Paragraphs>53</Paragraphs>
  <Slides>7</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3" baseType="lpstr">
      <vt:lpstr>Arial</vt:lpstr>
      <vt:lpstr>Calibri</vt:lpstr>
      <vt:lpstr>EYInterstate</vt:lpstr>
      <vt:lpstr>EYInterstate Light</vt:lpstr>
      <vt:lpstr>1_Office Theme</vt:lpstr>
      <vt:lpstr>think-cell Slide</vt:lpstr>
      <vt:lpstr>Call for Code Challenge</vt:lpstr>
      <vt:lpstr>ESG - Challenge</vt:lpstr>
      <vt:lpstr>Responsible consumption and distribution</vt:lpstr>
      <vt:lpstr>IBM &lt;&gt; based App</vt:lpstr>
      <vt:lpstr>Wireframe</vt:lpstr>
      <vt:lpstr>System Architecture</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enter-of-Excellence –Azure FY22 plans</dc:title>
  <dc:creator>Vijay Yellapragada</dc:creator>
  <cp:lastModifiedBy>Ninghan Hu</cp:lastModifiedBy>
  <cp:revision>45</cp:revision>
  <dcterms:created xsi:type="dcterms:W3CDTF">2021-05-20T13:46:03Z</dcterms:created>
  <dcterms:modified xsi:type="dcterms:W3CDTF">2021-11-18T20:20: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16B5BF34AF0B040A8FC0CC8DC294259</vt:lpwstr>
  </property>
</Properties>
</file>